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8" r:id="rId4"/>
  </p:sldMasterIdLst>
  <p:notesMasterIdLst>
    <p:notesMasterId r:id="rId19"/>
  </p:notesMasterIdLst>
  <p:handoutMasterIdLst>
    <p:handoutMasterId r:id="rId20"/>
  </p:handoutMasterIdLst>
  <p:sldIdLst>
    <p:sldId id="1152" r:id="rId5"/>
    <p:sldId id="1153" r:id="rId6"/>
    <p:sldId id="1154" r:id="rId7"/>
    <p:sldId id="1155" r:id="rId8"/>
    <p:sldId id="1157" r:id="rId9"/>
    <p:sldId id="1149" r:id="rId10"/>
    <p:sldId id="1146" r:id="rId11"/>
    <p:sldId id="1162" r:id="rId12"/>
    <p:sldId id="1161" r:id="rId13"/>
    <p:sldId id="1163" r:id="rId14"/>
    <p:sldId id="1160" r:id="rId15"/>
    <p:sldId id="1159" r:id="rId16"/>
    <p:sldId id="1164" r:id="rId17"/>
    <p:sldId id="1158" r:id="rId1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IPBHARAT" id="{6DD5C800-9A2C-4823-B056-4AFFC9A97500}">
          <p14:sldIdLst>
            <p14:sldId id="1152"/>
            <p14:sldId id="1153"/>
            <p14:sldId id="1154"/>
            <p14:sldId id="1155"/>
            <p14:sldId id="1157"/>
            <p14:sldId id="1149"/>
            <p14:sldId id="1146"/>
            <p14:sldId id="1162"/>
            <p14:sldId id="1161"/>
            <p14:sldId id="1163"/>
            <p14:sldId id="1160"/>
            <p14:sldId id="1159"/>
            <p14:sldId id="1164"/>
            <p14:sldId id="1158"/>
          </p14:sldIdLst>
        </p14:section>
        <p14:section name="Special content" id="{6925D2A1-AD53-4951-AB34-79DFA02CD6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guide id="3" orient="horz" pos="184">
          <p15:clr>
            <a:srgbClr val="A4A3A4"/>
          </p15:clr>
        </p15:guide>
        <p15:guide id="4" orient="horz" pos="2155">
          <p15:clr>
            <a:srgbClr val="A4A3A4"/>
          </p15:clr>
        </p15:guide>
        <p15:guide id="5" pos="7667">
          <p15:clr>
            <a:srgbClr val="A4A3A4"/>
          </p15:clr>
        </p15:guide>
        <p15:guide id="6" pos="21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8B1F"/>
    <a:srgbClr val="FCD116"/>
    <a:srgbClr val="00BCF2"/>
    <a:srgbClr val="7FBA00"/>
    <a:srgbClr val="505050"/>
    <a:srgbClr val="DC3C00"/>
    <a:srgbClr val="0072C6"/>
    <a:srgbClr val="FFFFFF"/>
    <a:srgbClr val="007233"/>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129" autoAdjust="0"/>
    <p:restoredTop sz="93968" autoAdjust="0"/>
  </p:normalViewPr>
  <p:slideViewPr>
    <p:cSldViewPr>
      <p:cViewPr varScale="1">
        <p:scale>
          <a:sx n="68" d="100"/>
          <a:sy n="68" d="100"/>
        </p:scale>
        <p:origin x="924" y="78"/>
      </p:cViewPr>
      <p:guideLst>
        <p:guide orient="horz" pos="2203"/>
        <p:guide pos="3917"/>
        <p:guide orient="horz" pos="184"/>
        <p:guide orient="horz" pos="2155"/>
        <p:guide pos="7667"/>
        <p:guide pos="21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7230"/>
    </p:cViewPr>
  </p:sorterViewPr>
  <p:notesViewPr>
    <p:cSldViewPr showGuides="1">
      <p:cViewPr>
        <p:scale>
          <a:sx n="41" d="100"/>
          <a:sy n="41" d="100"/>
        </p:scale>
        <p:origin x="-3792" y="-846"/>
      </p:cViewPr>
      <p:guideLst>
        <p:guide orient="horz" pos="2880"/>
        <p:guide pos="2160"/>
      </p:guideLst>
    </p:cSldViewPr>
  </p:notesViewPr>
  <p:gridSpacing cx="76330" cy="7633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3/25/2023 10:0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3/25/2023 10:0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endParaRPr lang="en-GB" dirty="0"/>
          </a:p>
        </p:txBody>
      </p:sp>
      <p:sp>
        <p:nvSpPr>
          <p:cNvPr id="4" name="Slide Number Placeholder 3"/>
          <p:cNvSpPr>
            <a:spLocks noGrp="1"/>
          </p:cNvSpPr>
          <p:nvPr>
            <p:ph type="sldNum" sz="quarter" idx="10"/>
          </p:nvPr>
        </p:nvSpPr>
        <p:spPr/>
        <p:txBody>
          <a:bodyPr/>
          <a:lstStyle/>
          <a:p>
            <a:fld id="{900D593D-3C09-4235-B0A7-9289E716E3F8}" type="slidenum">
              <a:rPr lang="en-AU" smtClean="0"/>
              <a:t>1</a:t>
            </a:fld>
            <a:endParaRPr lang="en-AU"/>
          </a:p>
        </p:txBody>
      </p:sp>
    </p:spTree>
    <p:extLst>
      <p:ext uri="{BB962C8B-B14F-4D97-AF65-F5344CB8AC3E}">
        <p14:creationId xmlns:p14="http://schemas.microsoft.com/office/powerpoint/2010/main" val="3981018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5/2023 10: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9777097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b="1"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495AA6-CD70-4FD5-8BB2-7138049B9104}" type="datetime1">
              <a:rPr lang="en-US" smtClean="0">
                <a:solidFill>
                  <a:prstClr val="black"/>
                </a:solidFill>
              </a:rPr>
              <a:pPr/>
              <a:t>3/25/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8266703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1742669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5/2023 10: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946354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6246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
        <p:nvSpPr>
          <p:cNvPr id="4" name="Header Placeholder 3"/>
          <p:cNvSpPr>
            <a:spLocks noGrp="1"/>
          </p:cNvSpPr>
          <p:nvPr>
            <p:ph type="hdr" sz="quarter"/>
          </p:nvPr>
        </p:nvSpPr>
        <p:spPr/>
        <p:txBody>
          <a:bodyPr/>
          <a:lstStyle/>
          <a:p>
            <a:pPr>
              <a:defRPr/>
            </a:pPr>
            <a:endParaRPr lang="en-US" dirty="0">
              <a:solidFill>
                <a:prstClr val="black"/>
              </a:solidFill>
            </a:endParaRPr>
          </a:p>
        </p:txBody>
      </p:sp>
      <p:sp>
        <p:nvSpPr>
          <p:cNvPr id="5" name="Footer Placeholder 4"/>
          <p:cNvSpPr>
            <a:spLocks noGrp="1"/>
          </p:cNvSpPr>
          <p:nvPr>
            <p:ph type="ftr" sz="quarter" idx="4"/>
          </p:nvPr>
        </p:nvSpPr>
        <p:spPr/>
        <p:txBody>
          <a:bodyPr/>
          <a:lstStyle/>
          <a:p>
            <a:pPr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2469"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300">
                <a:solidFill>
                  <a:schemeClr val="tx1"/>
                </a:solidFill>
                <a:latin typeface="Segoe UI" charset="0"/>
                <a:ea typeface="MS PGothic" charset="0"/>
                <a:cs typeface="MS PGothic" charset="0"/>
              </a:defRPr>
            </a:lvl1pPr>
            <a:lvl2pPr marL="722073" indent="-277720" eaLnBrk="0" hangingPunct="0">
              <a:defRPr sz="2300">
                <a:solidFill>
                  <a:schemeClr val="tx1"/>
                </a:solidFill>
                <a:latin typeface="Segoe UI" charset="0"/>
                <a:ea typeface="MS PGothic" charset="0"/>
                <a:cs typeface="MS PGothic" charset="0"/>
              </a:defRPr>
            </a:lvl2pPr>
            <a:lvl3pPr marL="1110882" indent="-222176" eaLnBrk="0" hangingPunct="0">
              <a:defRPr sz="2300">
                <a:solidFill>
                  <a:schemeClr val="tx1"/>
                </a:solidFill>
                <a:latin typeface="Segoe UI" charset="0"/>
                <a:ea typeface="MS PGothic" charset="0"/>
                <a:cs typeface="MS PGothic" charset="0"/>
              </a:defRPr>
            </a:lvl3pPr>
            <a:lvl4pPr marL="1555234" indent="-222176" eaLnBrk="0" hangingPunct="0">
              <a:defRPr sz="2300">
                <a:solidFill>
                  <a:schemeClr val="tx1"/>
                </a:solidFill>
                <a:latin typeface="Segoe UI" charset="0"/>
                <a:ea typeface="MS PGothic" charset="0"/>
                <a:cs typeface="MS PGothic" charset="0"/>
              </a:defRPr>
            </a:lvl4pPr>
            <a:lvl5pPr marL="1999587" indent="-222176" eaLnBrk="0" hangingPunct="0">
              <a:defRPr sz="2300">
                <a:solidFill>
                  <a:schemeClr val="tx1"/>
                </a:solidFill>
                <a:latin typeface="Segoe UI" charset="0"/>
                <a:ea typeface="MS PGothic" charset="0"/>
                <a:cs typeface="MS PGothic" charset="0"/>
              </a:defRPr>
            </a:lvl5pPr>
            <a:lvl6pPr marL="2443940" indent="-222176" defTabSz="905678" eaLnBrk="0" fontAlgn="base" hangingPunct="0">
              <a:spcBef>
                <a:spcPct val="0"/>
              </a:spcBef>
              <a:spcAft>
                <a:spcPct val="0"/>
              </a:spcAft>
              <a:defRPr sz="2300">
                <a:solidFill>
                  <a:schemeClr val="tx1"/>
                </a:solidFill>
                <a:latin typeface="Segoe UI" charset="0"/>
                <a:ea typeface="MS PGothic" charset="0"/>
                <a:cs typeface="MS PGothic" charset="0"/>
              </a:defRPr>
            </a:lvl6pPr>
            <a:lvl7pPr marL="2888292" indent="-222176" defTabSz="905678" eaLnBrk="0" fontAlgn="base" hangingPunct="0">
              <a:spcBef>
                <a:spcPct val="0"/>
              </a:spcBef>
              <a:spcAft>
                <a:spcPct val="0"/>
              </a:spcAft>
              <a:defRPr sz="2300">
                <a:solidFill>
                  <a:schemeClr val="tx1"/>
                </a:solidFill>
                <a:latin typeface="Segoe UI" charset="0"/>
                <a:ea typeface="MS PGothic" charset="0"/>
                <a:cs typeface="MS PGothic" charset="0"/>
              </a:defRPr>
            </a:lvl7pPr>
            <a:lvl8pPr marL="3332645" indent="-222176" defTabSz="905678" eaLnBrk="0" fontAlgn="base" hangingPunct="0">
              <a:spcBef>
                <a:spcPct val="0"/>
              </a:spcBef>
              <a:spcAft>
                <a:spcPct val="0"/>
              </a:spcAft>
              <a:defRPr sz="2300">
                <a:solidFill>
                  <a:schemeClr val="tx1"/>
                </a:solidFill>
                <a:latin typeface="Segoe UI" charset="0"/>
                <a:ea typeface="MS PGothic" charset="0"/>
                <a:cs typeface="MS PGothic" charset="0"/>
              </a:defRPr>
            </a:lvl8pPr>
            <a:lvl9pPr marL="3776998" indent="-222176" defTabSz="905678" eaLnBrk="0" fontAlgn="base" hangingPunct="0">
              <a:spcBef>
                <a:spcPct val="0"/>
              </a:spcBef>
              <a:spcAft>
                <a:spcPct val="0"/>
              </a:spcAft>
              <a:defRPr sz="2300">
                <a:solidFill>
                  <a:schemeClr val="tx1"/>
                </a:solidFill>
                <a:latin typeface="Segoe UI" charset="0"/>
                <a:ea typeface="MS PGothic" charset="0"/>
                <a:cs typeface="MS PGothic" charset="0"/>
              </a:defRPr>
            </a:lvl9pPr>
          </a:lstStyle>
          <a:p>
            <a:pPr eaLnBrk="1" hangingPunct="1"/>
            <a:fld id="{3A1ADF56-F64E-DB46-BBF0-401547F9557D}" type="datetime1">
              <a:rPr lang="en-US" sz="1200">
                <a:solidFill>
                  <a:srgbClr val="000000"/>
                </a:solidFill>
                <a:latin typeface="Calibri" charset="0"/>
              </a:rPr>
              <a:pPr eaLnBrk="1" hangingPunct="1"/>
              <a:t>3/25/2023</a:t>
            </a:fld>
            <a:endParaRPr lang="en-US" sz="1200">
              <a:solidFill>
                <a:srgbClr val="000000"/>
              </a:solidFill>
              <a:latin typeface="Calibri" charset="0"/>
            </a:endParaRPr>
          </a:p>
        </p:txBody>
      </p:sp>
      <p:sp>
        <p:nvSpPr>
          <p:cNvPr id="62470"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300">
                <a:solidFill>
                  <a:schemeClr val="tx1"/>
                </a:solidFill>
                <a:latin typeface="Segoe UI" charset="0"/>
                <a:ea typeface="MS PGothic" charset="0"/>
                <a:cs typeface="MS PGothic" charset="0"/>
              </a:defRPr>
            </a:lvl1pPr>
            <a:lvl2pPr marL="722073" indent="-277720" eaLnBrk="0" hangingPunct="0">
              <a:defRPr sz="2300">
                <a:solidFill>
                  <a:schemeClr val="tx1"/>
                </a:solidFill>
                <a:latin typeface="Segoe UI" charset="0"/>
                <a:ea typeface="MS PGothic" charset="0"/>
                <a:cs typeface="MS PGothic" charset="0"/>
              </a:defRPr>
            </a:lvl2pPr>
            <a:lvl3pPr marL="1110882" indent="-222176" eaLnBrk="0" hangingPunct="0">
              <a:defRPr sz="2300">
                <a:solidFill>
                  <a:schemeClr val="tx1"/>
                </a:solidFill>
                <a:latin typeface="Segoe UI" charset="0"/>
                <a:ea typeface="MS PGothic" charset="0"/>
                <a:cs typeface="MS PGothic" charset="0"/>
              </a:defRPr>
            </a:lvl3pPr>
            <a:lvl4pPr marL="1555234" indent="-222176" eaLnBrk="0" hangingPunct="0">
              <a:defRPr sz="2300">
                <a:solidFill>
                  <a:schemeClr val="tx1"/>
                </a:solidFill>
                <a:latin typeface="Segoe UI" charset="0"/>
                <a:ea typeface="MS PGothic" charset="0"/>
                <a:cs typeface="MS PGothic" charset="0"/>
              </a:defRPr>
            </a:lvl4pPr>
            <a:lvl5pPr marL="1999587" indent="-222176" eaLnBrk="0" hangingPunct="0">
              <a:defRPr sz="2300">
                <a:solidFill>
                  <a:schemeClr val="tx1"/>
                </a:solidFill>
                <a:latin typeface="Segoe UI" charset="0"/>
                <a:ea typeface="MS PGothic" charset="0"/>
                <a:cs typeface="MS PGothic" charset="0"/>
              </a:defRPr>
            </a:lvl5pPr>
            <a:lvl6pPr marL="2443940" indent="-222176" defTabSz="905678" eaLnBrk="0" fontAlgn="base" hangingPunct="0">
              <a:spcBef>
                <a:spcPct val="0"/>
              </a:spcBef>
              <a:spcAft>
                <a:spcPct val="0"/>
              </a:spcAft>
              <a:defRPr sz="2300">
                <a:solidFill>
                  <a:schemeClr val="tx1"/>
                </a:solidFill>
                <a:latin typeface="Segoe UI" charset="0"/>
                <a:ea typeface="MS PGothic" charset="0"/>
                <a:cs typeface="MS PGothic" charset="0"/>
              </a:defRPr>
            </a:lvl6pPr>
            <a:lvl7pPr marL="2888292" indent="-222176" defTabSz="905678" eaLnBrk="0" fontAlgn="base" hangingPunct="0">
              <a:spcBef>
                <a:spcPct val="0"/>
              </a:spcBef>
              <a:spcAft>
                <a:spcPct val="0"/>
              </a:spcAft>
              <a:defRPr sz="2300">
                <a:solidFill>
                  <a:schemeClr val="tx1"/>
                </a:solidFill>
                <a:latin typeface="Segoe UI" charset="0"/>
                <a:ea typeface="MS PGothic" charset="0"/>
                <a:cs typeface="MS PGothic" charset="0"/>
              </a:defRPr>
            </a:lvl7pPr>
            <a:lvl8pPr marL="3332645" indent="-222176" defTabSz="905678" eaLnBrk="0" fontAlgn="base" hangingPunct="0">
              <a:spcBef>
                <a:spcPct val="0"/>
              </a:spcBef>
              <a:spcAft>
                <a:spcPct val="0"/>
              </a:spcAft>
              <a:defRPr sz="2300">
                <a:solidFill>
                  <a:schemeClr val="tx1"/>
                </a:solidFill>
                <a:latin typeface="Segoe UI" charset="0"/>
                <a:ea typeface="MS PGothic" charset="0"/>
                <a:cs typeface="MS PGothic" charset="0"/>
              </a:defRPr>
            </a:lvl8pPr>
            <a:lvl9pPr marL="3776998" indent="-222176" defTabSz="905678" eaLnBrk="0" fontAlgn="base" hangingPunct="0">
              <a:spcBef>
                <a:spcPct val="0"/>
              </a:spcBef>
              <a:spcAft>
                <a:spcPct val="0"/>
              </a:spcAft>
              <a:defRPr sz="2300">
                <a:solidFill>
                  <a:schemeClr val="tx1"/>
                </a:solidFill>
                <a:latin typeface="Segoe UI" charset="0"/>
                <a:ea typeface="MS PGothic" charset="0"/>
                <a:cs typeface="MS PGothic" charset="0"/>
              </a:defRPr>
            </a:lvl9pPr>
          </a:lstStyle>
          <a:p>
            <a:pPr eaLnBrk="1" hangingPunct="1"/>
            <a:fld id="{8F3B5165-9C0A-B34D-93A2-7D57942D6786}" type="slidenum">
              <a:rPr lang="en-US" sz="1200">
                <a:solidFill>
                  <a:srgbClr val="000000"/>
                </a:solidFill>
                <a:latin typeface="Calibri" charset="0"/>
              </a:rPr>
              <a:pPr eaLnBrk="1" hangingPunct="1"/>
              <a:t>4</a:t>
            </a:fld>
            <a:endParaRPr lang="en-US" sz="1200">
              <a:solidFill>
                <a:srgbClr val="000000"/>
              </a:solidFill>
              <a:latin typeface="Calibri" charset="0"/>
            </a:endParaRPr>
          </a:p>
        </p:txBody>
      </p:sp>
    </p:spTree>
    <p:extLst>
      <p:ext uri="{BB962C8B-B14F-4D97-AF65-F5344CB8AC3E}">
        <p14:creationId xmlns:p14="http://schemas.microsoft.com/office/powerpoint/2010/main" val="431372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3/25/202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1130303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5/2023 10: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7562622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5/2023 10: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8811346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5/2023 10: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1986779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3/25/2023 10:0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90234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 in">
    <p:bg bwMode="ltGray">
      <p:bgPr>
        <a:solidFill>
          <a:srgbClr val="FCD116"/>
        </a:solidFill>
        <a:effectLst/>
      </p:bgPr>
    </p:bg>
    <p:spTree>
      <p:nvGrpSpPr>
        <p:cNvPr id="1" name=""/>
        <p:cNvGrpSpPr/>
        <p:nvPr/>
      </p:nvGrpSpPr>
      <p:grpSpPr>
        <a:xfrm>
          <a:off x="0" y="0"/>
          <a:ext cx="0" cy="0"/>
          <a:chOff x="0" y="0"/>
          <a:chExt cx="0" cy="0"/>
        </a:xfrm>
      </p:grpSpPr>
      <p:pic>
        <p:nvPicPr>
          <p:cNvPr id="8" name="Picture 7" descr="TechEd_Maingraphi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78262" y="3238208"/>
            <a:ext cx="5566366" cy="3932636"/>
          </a:xfrm>
          <a:prstGeom prst="rect">
            <a:avLst/>
          </a:prstGeom>
        </p:spPr>
      </p:pic>
      <p:grpSp>
        <p:nvGrpSpPr>
          <p:cNvPr id="9" name="Group 8"/>
          <p:cNvGrpSpPr/>
          <p:nvPr userDrawn="1"/>
        </p:nvGrpSpPr>
        <p:grpSpPr>
          <a:xfrm>
            <a:off x="0" y="2"/>
            <a:ext cx="12436475" cy="1891112"/>
            <a:chOff x="5050972" y="1792676"/>
            <a:chExt cx="9144000" cy="1390650"/>
          </a:xfrm>
        </p:grpSpPr>
        <p:sp>
          <p:nvSpPr>
            <p:cNvPr id="10" name="Rectangle 9"/>
            <p:cNvSpPr/>
            <p:nvPr/>
          </p:nvSpPr>
          <p:spPr bwMode="auto">
            <a:xfrm>
              <a:off x="5050972" y="1792676"/>
              <a:ext cx="9144000" cy="139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Ed logo 2014_CMYK_WHITE-04.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6982" y="2082941"/>
              <a:ext cx="1878065" cy="821770"/>
            </a:xfrm>
            <a:prstGeom prst="rect">
              <a:avLst/>
            </a:prstGeom>
          </p:spPr>
        </p:pic>
      </p:grpSp>
      <p:pic>
        <p:nvPicPr>
          <p:cNvPr id="12" name="Picture 11" descr="MSFT_logo_rgb_C-Wht_D.pdf"/>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40660" y="1003729"/>
            <a:ext cx="2105132" cy="774253"/>
          </a:xfrm>
          <a:prstGeom prst="rect">
            <a:avLst/>
          </a:prstGeom>
        </p:spPr>
      </p:pic>
    </p:spTree>
    <p:extLst>
      <p:ext uri="{BB962C8B-B14F-4D97-AF65-F5344CB8AC3E}">
        <p14:creationId xmlns:p14="http://schemas.microsoft.com/office/powerpoint/2010/main" val="358001353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White BG blank">
    <p:bg>
      <p:bgPr>
        <a:solidFill>
          <a:schemeClr val="tx1"/>
        </a:solidFill>
        <a:effectLst/>
      </p:bgPr>
    </p:bg>
    <p:spTree>
      <p:nvGrpSpPr>
        <p:cNvPr id="1" name=""/>
        <p:cNvGrpSpPr/>
        <p:nvPr/>
      </p:nvGrpSpPr>
      <p:grpSpPr>
        <a:xfrm>
          <a:off x="0" y="0"/>
          <a:ext cx="0" cy="0"/>
          <a:chOff x="0" y="0"/>
          <a:chExt cx="0" cy="0"/>
        </a:xfrm>
      </p:grpSpPr>
      <p:sp>
        <p:nvSpPr>
          <p:cNvPr id="15" name="Rectangle 14"/>
          <p:cNvSpPr/>
          <p:nvPr userDrawn="1"/>
        </p:nvSpPr>
        <p:spPr bwMode="auto">
          <a:xfrm>
            <a:off x="0" y="3"/>
            <a:ext cx="12436475" cy="10511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146267" rIns="182833" bIns="146267"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730" y="221851"/>
            <a:ext cx="1395687" cy="610613"/>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86058" y="430092"/>
            <a:ext cx="1566063" cy="575987"/>
          </a:xfrm>
          <a:prstGeom prst="rect">
            <a:avLst/>
          </a:prstGeom>
        </p:spPr>
      </p:pic>
    </p:spTree>
    <p:extLst>
      <p:ext uri="{BB962C8B-B14F-4D97-AF65-F5344CB8AC3E}">
        <p14:creationId xmlns:p14="http://schemas.microsoft.com/office/powerpoint/2010/main" val="279330583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0223" y="2147873"/>
            <a:ext cx="11889565" cy="917575"/>
          </a:xfrm>
        </p:spPr>
        <p:txBody>
          <a:bodyPr/>
          <a:lstStyle/>
          <a:p>
            <a:r>
              <a:rPr lang="en-AU" dirty="0" smtClean="0"/>
              <a:t>Click to edit Master title style</a:t>
            </a:r>
            <a:endParaRPr lang="en-US" dirty="0"/>
          </a:p>
        </p:txBody>
      </p:sp>
      <p:sp>
        <p:nvSpPr>
          <p:cNvPr id="6" name="Text Placeholder 5"/>
          <p:cNvSpPr>
            <a:spLocks noGrp="1"/>
          </p:cNvSpPr>
          <p:nvPr>
            <p:ph type="body" sz="quarter" idx="10"/>
          </p:nvPr>
        </p:nvSpPr>
        <p:spPr>
          <a:xfrm>
            <a:off x="177478" y="3251204"/>
            <a:ext cx="11887200" cy="20112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41" indent="0">
              <a:buNone/>
              <a:defRPr sz="2000"/>
            </a:lvl3pPr>
            <a:lvl4pPr marL="457082" indent="0">
              <a:buNone/>
              <a:defRPr sz="1800"/>
            </a:lvl4pPr>
            <a:lvl5pPr marL="685624" indent="0">
              <a:buNone/>
              <a:defRPr sz="1800"/>
            </a:lvl5pPr>
          </a:lstStyle>
          <a:p>
            <a:pPr lvl="0"/>
            <a:r>
              <a:rPr lang="en-AU" dirty="0" smtClean="0"/>
              <a:t>Click to edit Master text styles</a:t>
            </a:r>
          </a:p>
          <a:p>
            <a:pPr lvl="1"/>
            <a:r>
              <a:rPr lang="en-AU" dirty="0" smtClean="0"/>
              <a:t>Second level</a:t>
            </a:r>
          </a:p>
          <a:p>
            <a:pPr lvl="2"/>
            <a:r>
              <a:rPr lang="en-AU" dirty="0" smtClean="0"/>
              <a:t>Third level</a:t>
            </a:r>
          </a:p>
          <a:p>
            <a:pPr lvl="3"/>
            <a:r>
              <a:rPr lang="en-AU" dirty="0" smtClean="0"/>
              <a:t>Fourth level</a:t>
            </a:r>
          </a:p>
          <a:p>
            <a:pPr lvl="4"/>
            <a:r>
              <a:rPr lang="en-AU" dirty="0" smtClean="0"/>
              <a:t>Fifth level</a:t>
            </a:r>
            <a:endParaRPr lang="en-US" dirty="0"/>
          </a:p>
        </p:txBody>
      </p:sp>
      <p:sp>
        <p:nvSpPr>
          <p:cNvPr id="15" name="Rectangle 14"/>
          <p:cNvSpPr/>
          <p:nvPr userDrawn="1"/>
        </p:nvSpPr>
        <p:spPr bwMode="auto">
          <a:xfrm>
            <a:off x="0" y="3"/>
            <a:ext cx="12436475" cy="10511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146267" rIns="182833" bIns="146267"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730" y="221851"/>
            <a:ext cx="1395687" cy="610613"/>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86058" y="430092"/>
            <a:ext cx="1566063" cy="575987"/>
          </a:xfrm>
          <a:prstGeom prst="rect">
            <a:avLst/>
          </a:prstGeom>
        </p:spPr>
      </p:pic>
    </p:spTree>
    <p:extLst>
      <p:ext uri="{BB962C8B-B14F-4D97-AF65-F5344CB8AC3E}">
        <p14:creationId xmlns:p14="http://schemas.microsoft.com/office/powerpoint/2010/main" val="274250593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Tree>
    <p:extLst>
      <p:ext uri="{BB962C8B-B14F-4D97-AF65-F5344CB8AC3E}">
        <p14:creationId xmlns:p14="http://schemas.microsoft.com/office/powerpoint/2010/main" val="124260211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997430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268836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68922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8" tIns="46628" rIns="46628" bIns="46628" numCol="1" spcCol="0" rtlCol="0" fromWordArt="0" anchor="ctr" anchorCtr="0" forceAA="0" compatLnSpc="1">
            <a:prstTxWarp prst="textNoShape">
              <a:avLst/>
            </a:prstTxWarp>
            <a:noAutofit/>
          </a:bodyPr>
          <a:lstStyle/>
          <a:p>
            <a:pPr algn="ctr" defTabSz="932232" fontAlgn="base">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16154"/>
            <a:ext cx="11887199" cy="216117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6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2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Tree>
    <p:extLst>
      <p:ext uri="{BB962C8B-B14F-4D97-AF65-F5344CB8AC3E}">
        <p14:creationId xmlns:p14="http://schemas.microsoft.com/office/powerpoint/2010/main" val="411153789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2475076"/>
          </a:xfrm>
          <a:prstGeom prst="rect">
            <a:avLst/>
          </a:prstGeom>
        </p:spPr>
        <p:txBody>
          <a:bodyPr/>
          <a:lstStyle>
            <a:lvl1pPr marL="290439" indent="-290439">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54" indent="-280916">
              <a:buClr>
                <a:schemeClr val="tx1"/>
              </a:buClr>
              <a:buSzPct val="90000"/>
              <a:buFont typeface="Arial" pitchFamily="34" charset="0"/>
              <a:buChar char="•"/>
              <a:defRPr sz="33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93" indent="-290439">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34" indent="-228541">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75" indent="-228541">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7"/>
            <a:ext cx="12436476" cy="631451"/>
          </a:xfrm>
          <a:prstGeom prst="rect">
            <a:avLst/>
          </a:prstGeom>
          <a:solidFill>
            <a:srgbClr val="FFFF99"/>
          </a:solidFill>
        </p:spPr>
        <p:txBody>
          <a:bodyPr wrap="square" lIns="155417" tIns="77709" rIns="155417" bIns="77709" anchor="b" anchorCtr="0">
            <a:noAutofit/>
          </a:bodyPr>
          <a:lstStyle>
            <a:lvl1pPr algn="r">
              <a:buFont typeface="Arial" pitchFamily="34" charset="0"/>
              <a:buNone/>
              <a:defRPr sz="37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AU" smtClean="0"/>
              <a:t>Click to edit Master title style</a:t>
            </a:r>
            <a:endParaRPr lang="en-US" dirty="0"/>
          </a:p>
        </p:txBody>
      </p:sp>
    </p:spTree>
    <p:extLst>
      <p:ext uri="{BB962C8B-B14F-4D97-AF65-F5344CB8AC3E}">
        <p14:creationId xmlns:p14="http://schemas.microsoft.com/office/powerpoint/2010/main" val="2386194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FCD116"/>
        </a:solidFill>
        <a:effectLst/>
      </p:bgPr>
    </p:bg>
    <p:spTree>
      <p:nvGrpSpPr>
        <p:cNvPr id="1" name=""/>
        <p:cNvGrpSpPr/>
        <p:nvPr/>
      </p:nvGrpSpPr>
      <p:grpSpPr>
        <a:xfrm>
          <a:off x="0" y="0"/>
          <a:ext cx="0" cy="0"/>
          <a:chOff x="0" y="0"/>
          <a:chExt cx="0" cy="0"/>
        </a:xfrm>
      </p:grpSpPr>
      <p:sp>
        <p:nvSpPr>
          <p:cNvPr id="100" name="Rectangle 99"/>
          <p:cNvSpPr/>
          <p:nvPr userDrawn="1"/>
        </p:nvSpPr>
        <p:spPr bwMode="auto">
          <a:xfrm>
            <a:off x="348635" y="3950142"/>
            <a:ext cx="8880212"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146267" rIns="182833" bIns="146267"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137627" y="2275982"/>
            <a:ext cx="9103115" cy="1662456"/>
          </a:xfrm>
          <a:noFill/>
        </p:spPr>
        <p:txBody>
          <a:bodyPr lIns="146267" tIns="91418" rIns="146267" bIns="91418" anchor="b" anchorCtr="0"/>
          <a:lstStyle>
            <a:lvl1pPr>
              <a:defRPr sz="5000" spc="-101" baseline="0">
                <a:solidFill>
                  <a:schemeClr val="bg1">
                    <a:lumMod val="75000"/>
                    <a:lumOff val="25000"/>
                  </a:schemeClr>
                </a:solidFill>
              </a:defRPr>
            </a:lvl1pPr>
          </a:lstStyle>
          <a:p>
            <a:r>
              <a:rPr lang="en-US" dirty="0" smtClean="0"/>
              <a:t>Presentation title</a:t>
            </a:r>
            <a:br>
              <a:rPr lang="en-US" dirty="0" smtClean="0"/>
            </a:br>
            <a:r>
              <a:rPr lang="en-US" dirty="0" smtClean="0"/>
              <a:t>if long</a:t>
            </a:r>
            <a:endParaRPr lang="en-US" dirty="0"/>
          </a:p>
        </p:txBody>
      </p:sp>
      <p:sp>
        <p:nvSpPr>
          <p:cNvPr id="5" name="Text Placeholder 4"/>
          <p:cNvSpPr>
            <a:spLocks noGrp="1"/>
          </p:cNvSpPr>
          <p:nvPr>
            <p:ph type="body" sz="quarter" idx="12" hasCustomPrompt="1"/>
          </p:nvPr>
        </p:nvSpPr>
        <p:spPr>
          <a:xfrm>
            <a:off x="368543" y="3975809"/>
            <a:ext cx="5973561" cy="1741818"/>
          </a:xfrm>
          <a:noFill/>
        </p:spPr>
        <p:txBody>
          <a:bodyPr lIns="182833" tIns="146267" rIns="182833" bIns="146267">
            <a:noAutofit/>
          </a:bodyPr>
          <a:lstStyle>
            <a:lvl1pPr marL="0" indent="0">
              <a:spcBef>
                <a:spcPts val="0"/>
              </a:spcBef>
              <a:buNone/>
              <a:defRPr sz="3500" spc="0" baseline="0">
                <a:solidFill>
                  <a:schemeClr val="bg2"/>
                </a:solidFill>
                <a:latin typeface="+mj-lt"/>
              </a:defRPr>
            </a:lvl1pPr>
          </a:lstStyle>
          <a:p>
            <a:pPr lvl="0"/>
            <a:r>
              <a:rPr lang="en-US" dirty="0" smtClean="0"/>
              <a:t>Speaker Name</a:t>
            </a:r>
          </a:p>
        </p:txBody>
      </p:sp>
      <p:sp>
        <p:nvSpPr>
          <p:cNvPr id="10" name="Text Placeholder 7"/>
          <p:cNvSpPr>
            <a:spLocks noGrp="1"/>
          </p:cNvSpPr>
          <p:nvPr>
            <p:ph type="body" sz="quarter" idx="13" hasCustomPrompt="1"/>
          </p:nvPr>
        </p:nvSpPr>
        <p:spPr>
          <a:xfrm>
            <a:off x="404648" y="5884648"/>
            <a:ext cx="5486400" cy="927838"/>
          </a:xfrm>
        </p:spPr>
        <p:txBody>
          <a:bodyPr tIns="0" rIns="0"/>
          <a:lstStyle>
            <a:lvl1pPr marL="0" indent="0" algn="l">
              <a:buNone/>
              <a:defRPr sz="6000">
                <a:solidFill>
                  <a:schemeClr val="bg1">
                    <a:lumMod val="75000"/>
                    <a:lumOff val="25000"/>
                  </a:schemeClr>
                </a:solidFill>
              </a:defRPr>
            </a:lvl1pPr>
          </a:lstStyle>
          <a:p>
            <a:pPr lvl="0"/>
            <a:r>
              <a:rPr lang="en-US" dirty="0" smtClean="0"/>
              <a:t>Session code</a:t>
            </a:r>
            <a:endParaRPr lang="en-US" dirty="0"/>
          </a:p>
        </p:txBody>
      </p:sp>
      <p:grpSp>
        <p:nvGrpSpPr>
          <p:cNvPr id="14" name="Group 13"/>
          <p:cNvGrpSpPr/>
          <p:nvPr userDrawn="1"/>
        </p:nvGrpSpPr>
        <p:grpSpPr>
          <a:xfrm>
            <a:off x="0" y="2"/>
            <a:ext cx="12436475" cy="1891112"/>
            <a:chOff x="5050972" y="1792676"/>
            <a:chExt cx="9144000" cy="1390650"/>
          </a:xfrm>
        </p:grpSpPr>
        <p:sp>
          <p:nvSpPr>
            <p:cNvPr id="15" name="Rectangle 14"/>
            <p:cNvSpPr/>
            <p:nvPr/>
          </p:nvSpPr>
          <p:spPr bwMode="auto">
            <a:xfrm>
              <a:off x="5050972" y="1792676"/>
              <a:ext cx="9144000" cy="139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6982" y="2082941"/>
              <a:ext cx="1878065" cy="821770"/>
            </a:xfrm>
            <a:prstGeom prst="rect">
              <a:avLst/>
            </a:prstGeom>
          </p:spPr>
        </p:pic>
      </p:grpSp>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0660" y="1003729"/>
            <a:ext cx="2105132" cy="774253"/>
          </a:xfrm>
          <a:prstGeom prst="rect">
            <a:avLst/>
          </a:prstGeom>
        </p:spPr>
      </p:pic>
    </p:spTree>
    <p:extLst>
      <p:ext uri="{BB962C8B-B14F-4D97-AF65-F5344CB8AC3E}">
        <p14:creationId xmlns:p14="http://schemas.microsoft.com/office/powerpoint/2010/main" val="147771387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rgbClr val="0072C6"/>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351099" y="2234557"/>
            <a:ext cx="10058336" cy="27431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67" tIns="109700" rIns="146267" bIns="109700"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51101" y="2234559"/>
            <a:ext cx="10056812" cy="2751698"/>
          </a:xfrm>
          <a:noFill/>
        </p:spPr>
        <p:txBody>
          <a:bodyPr tIns="91418" bIns="91418" anchor="t" anchorCtr="0"/>
          <a:lstStyle>
            <a:lvl1pPr>
              <a:defRPr sz="7200" spc="-101" baseline="0">
                <a:solidFill>
                  <a:srgbClr val="002050"/>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351039" y="4989252"/>
            <a:ext cx="10058400" cy="1829593"/>
          </a:xfrm>
          <a:noFill/>
        </p:spPr>
        <p:txBody>
          <a:bodyPr lIns="182833" tIns="146267" rIns="182833" bIns="146267">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18" name="Rectangle 17"/>
          <p:cNvSpPr/>
          <p:nvPr userDrawn="1"/>
        </p:nvSpPr>
        <p:spPr bwMode="auto">
          <a:xfrm>
            <a:off x="0" y="3"/>
            <a:ext cx="12436475" cy="10511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146267" rIns="182833" bIns="146267"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730" y="221851"/>
            <a:ext cx="1395687" cy="610613"/>
          </a:xfrm>
          <a:prstGeom prst="rect">
            <a:avLst/>
          </a:prstGeom>
        </p:spPr>
      </p:pic>
      <p:pic>
        <p:nvPicPr>
          <p:cNvPr id="20" name="Picture 19"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86058" y="430092"/>
            <a:ext cx="1566063" cy="575987"/>
          </a:xfrm>
          <a:prstGeom prst="rect">
            <a:avLst/>
          </a:prstGeom>
        </p:spPr>
      </p:pic>
    </p:spTree>
    <p:extLst>
      <p:ext uri="{BB962C8B-B14F-4D97-AF65-F5344CB8AC3E}">
        <p14:creationId xmlns:p14="http://schemas.microsoft.com/office/powerpoint/2010/main" val="283058879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emo slide 2">
    <p:bg>
      <p:bgPr>
        <a:solidFill>
          <a:srgbClr val="0072C6"/>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51101" y="2234559"/>
            <a:ext cx="10056812" cy="2751698"/>
          </a:xfrm>
          <a:solidFill>
            <a:srgbClr val="002050"/>
          </a:solidFill>
        </p:spPr>
        <p:txBody>
          <a:bodyPr tIns="91418" bIns="91418" anchor="t" anchorCtr="0"/>
          <a:lstStyle>
            <a:lvl1pPr>
              <a:defRPr sz="7200" spc="-101"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7" name="Text Placeholder 4"/>
          <p:cNvSpPr>
            <a:spLocks noGrp="1"/>
          </p:cNvSpPr>
          <p:nvPr>
            <p:ph type="body" sz="quarter" idx="12" hasCustomPrompt="1"/>
          </p:nvPr>
        </p:nvSpPr>
        <p:spPr>
          <a:xfrm>
            <a:off x="351039" y="4989252"/>
            <a:ext cx="10058400" cy="1829593"/>
          </a:xfrm>
          <a:noFill/>
        </p:spPr>
        <p:txBody>
          <a:bodyPr lIns="182833" tIns="146267" rIns="182833" bIns="146267">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15" name="Rectangle 14"/>
          <p:cNvSpPr/>
          <p:nvPr userDrawn="1"/>
        </p:nvSpPr>
        <p:spPr bwMode="auto">
          <a:xfrm>
            <a:off x="0" y="3"/>
            <a:ext cx="12436475" cy="10511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146267" rIns="182833" bIns="146267"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730" y="221851"/>
            <a:ext cx="1395687" cy="610613"/>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86058" y="430092"/>
            <a:ext cx="1566063" cy="575987"/>
          </a:xfrm>
          <a:prstGeom prst="rect">
            <a:avLst/>
          </a:prstGeom>
        </p:spPr>
      </p:pic>
    </p:spTree>
    <p:extLst>
      <p:ext uri="{BB962C8B-B14F-4D97-AF65-F5344CB8AC3E}">
        <p14:creationId xmlns:p14="http://schemas.microsoft.com/office/powerpoint/2010/main" val="44557637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57" y="2125665"/>
            <a:ext cx="11887200" cy="1831975"/>
          </a:xfrm>
          <a:noFill/>
        </p:spPr>
        <p:txBody>
          <a:bodyPr tIns="91418" bIns="91418" anchor="t" anchorCtr="0"/>
          <a:lstStyle>
            <a:lvl1pPr>
              <a:defRPr sz="8800" spc="-101"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12" name="Rectangle 11"/>
          <p:cNvSpPr/>
          <p:nvPr userDrawn="1"/>
        </p:nvSpPr>
        <p:spPr bwMode="auto">
          <a:xfrm>
            <a:off x="0" y="3"/>
            <a:ext cx="12436475" cy="10511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146267" rIns="182833" bIns="146267"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730" y="221851"/>
            <a:ext cx="1395687" cy="610613"/>
          </a:xfrm>
          <a:prstGeom prst="rect">
            <a:avLst/>
          </a:prstGeom>
        </p:spPr>
      </p:pic>
      <p:pic>
        <p:nvPicPr>
          <p:cNvPr id="14" name="Picture 13"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86058" y="430092"/>
            <a:ext cx="1566063" cy="575987"/>
          </a:xfrm>
          <a:prstGeom prst="rect">
            <a:avLst/>
          </a:prstGeom>
        </p:spPr>
      </p:pic>
    </p:spTree>
    <p:extLst>
      <p:ext uri="{BB962C8B-B14F-4D97-AF65-F5344CB8AC3E}">
        <p14:creationId xmlns:p14="http://schemas.microsoft.com/office/powerpoint/2010/main" val="368729268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master Teched 2014">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0223" y="1044938"/>
            <a:ext cx="12000683" cy="917575"/>
          </a:xfrm>
        </p:spPr>
        <p:txBody>
          <a:bodyPr/>
          <a:lstStyle>
            <a:lvl1pPr>
              <a:lnSpc>
                <a:spcPct val="85000"/>
              </a:lnSpc>
              <a:defRPr sz="4600"/>
            </a:lvl1pPr>
          </a:lstStyle>
          <a:p>
            <a:r>
              <a:rPr lang="en-AU" dirty="0" smtClean="0"/>
              <a:t>Click to edit Master title style</a:t>
            </a:r>
            <a:endParaRPr lang="en-US" dirty="0"/>
          </a:p>
        </p:txBody>
      </p:sp>
      <p:sp>
        <p:nvSpPr>
          <p:cNvPr id="6" name="Text Placeholder 5"/>
          <p:cNvSpPr>
            <a:spLocks noGrp="1"/>
          </p:cNvSpPr>
          <p:nvPr>
            <p:ph type="body" sz="quarter" idx="10"/>
          </p:nvPr>
        </p:nvSpPr>
        <p:spPr>
          <a:xfrm>
            <a:off x="177478" y="2053083"/>
            <a:ext cx="11887200" cy="2432874"/>
          </a:xfrm>
        </p:spPr>
        <p:txBody>
          <a:bodyPr/>
          <a:lstStyle>
            <a:lvl1pPr marL="0" indent="0">
              <a:lnSpc>
                <a:spcPct val="85000"/>
              </a:lnSpc>
              <a:spcBef>
                <a:spcPts val="1088"/>
              </a:spcBef>
              <a:spcAft>
                <a:spcPts val="408"/>
              </a:spcAft>
              <a:buNone/>
              <a:defRPr sz="3300">
                <a:gradFill>
                  <a:gsLst>
                    <a:gs pos="1250">
                      <a:schemeClr val="tx1"/>
                    </a:gs>
                    <a:gs pos="99000">
                      <a:schemeClr val="tx1"/>
                    </a:gs>
                  </a:gsLst>
                  <a:lin ang="5400000" scaled="0"/>
                </a:gradFill>
              </a:defRPr>
            </a:lvl1pPr>
            <a:lvl2pPr marL="0" indent="0">
              <a:lnSpc>
                <a:spcPct val="90000"/>
              </a:lnSpc>
              <a:spcBef>
                <a:spcPts val="136"/>
              </a:spcBef>
              <a:spcAft>
                <a:spcPts val="1088"/>
              </a:spcAft>
              <a:buFontTx/>
              <a:buNone/>
              <a:defRPr sz="2400"/>
            </a:lvl2pPr>
            <a:lvl3pPr marL="228541" indent="0">
              <a:lnSpc>
                <a:spcPct val="90000"/>
              </a:lnSpc>
              <a:spcBef>
                <a:spcPts val="136"/>
              </a:spcBef>
              <a:spcAft>
                <a:spcPts val="1088"/>
              </a:spcAft>
              <a:buNone/>
              <a:defRPr sz="2400"/>
            </a:lvl3pPr>
            <a:lvl4pPr marL="457082" indent="0">
              <a:lnSpc>
                <a:spcPct val="90000"/>
              </a:lnSpc>
              <a:spcBef>
                <a:spcPts val="136"/>
              </a:spcBef>
              <a:spcAft>
                <a:spcPts val="1088"/>
              </a:spcAft>
              <a:buNone/>
              <a:defRPr sz="2200"/>
            </a:lvl4pPr>
            <a:lvl5pPr marL="685624" indent="0">
              <a:lnSpc>
                <a:spcPct val="90000"/>
              </a:lnSpc>
              <a:spcBef>
                <a:spcPts val="136"/>
              </a:spcBef>
              <a:spcAft>
                <a:spcPts val="1088"/>
              </a:spcAft>
              <a:buNone/>
              <a:defRPr sz="2200"/>
            </a:lvl5pPr>
          </a:lstStyle>
          <a:p>
            <a:pPr lvl="0"/>
            <a:r>
              <a:rPr lang="en-AU" dirty="0" smtClean="0"/>
              <a:t>Click to edit Master text styles</a:t>
            </a:r>
          </a:p>
          <a:p>
            <a:pPr lvl="1"/>
            <a:r>
              <a:rPr lang="en-AU" dirty="0" smtClean="0"/>
              <a:t>Second level</a:t>
            </a:r>
          </a:p>
          <a:p>
            <a:pPr lvl="2"/>
            <a:r>
              <a:rPr lang="en-AU" dirty="0" smtClean="0"/>
              <a:t>Third level</a:t>
            </a:r>
          </a:p>
          <a:p>
            <a:pPr lvl="3"/>
            <a:r>
              <a:rPr lang="en-AU" dirty="0" smtClean="0"/>
              <a:t>Fourth level</a:t>
            </a:r>
          </a:p>
          <a:p>
            <a:pPr lvl="4"/>
            <a:r>
              <a:rPr lang="en-AU" dirty="0" smtClean="0"/>
              <a:t>Fifth level</a:t>
            </a:r>
            <a:endParaRPr lang="en-US" dirty="0"/>
          </a:p>
        </p:txBody>
      </p:sp>
      <p:sp>
        <p:nvSpPr>
          <p:cNvPr id="15" name="Rectangle 14"/>
          <p:cNvSpPr/>
          <p:nvPr userDrawn="1"/>
        </p:nvSpPr>
        <p:spPr bwMode="auto">
          <a:xfrm>
            <a:off x="0" y="3"/>
            <a:ext cx="12436475" cy="10511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146267" rIns="182833" bIns="146267"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730" y="221851"/>
            <a:ext cx="1395687" cy="610613"/>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86058" y="430092"/>
            <a:ext cx="1566063" cy="575987"/>
          </a:xfrm>
          <a:prstGeom prst="rect">
            <a:avLst/>
          </a:prstGeom>
        </p:spPr>
      </p:pic>
    </p:spTree>
    <p:extLst>
      <p:ext uri="{BB962C8B-B14F-4D97-AF65-F5344CB8AC3E}">
        <p14:creationId xmlns:p14="http://schemas.microsoft.com/office/powerpoint/2010/main" val="58528596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Content master Teched 2014">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0223" y="1070844"/>
            <a:ext cx="12000683" cy="917575"/>
          </a:xfrm>
        </p:spPr>
        <p:txBody>
          <a:bodyPr/>
          <a:lstStyle>
            <a:lvl1pPr>
              <a:lnSpc>
                <a:spcPct val="85000"/>
              </a:lnSpc>
              <a:defRPr sz="4900"/>
            </a:lvl1pPr>
          </a:lstStyle>
          <a:p>
            <a:r>
              <a:rPr lang="en-AU" dirty="0" smtClean="0"/>
              <a:t>Click to edit Master title style</a:t>
            </a:r>
            <a:endParaRPr lang="en-US" dirty="0"/>
          </a:p>
        </p:txBody>
      </p:sp>
      <p:sp>
        <p:nvSpPr>
          <p:cNvPr id="15" name="Rectangle 14"/>
          <p:cNvSpPr/>
          <p:nvPr userDrawn="1"/>
        </p:nvSpPr>
        <p:spPr bwMode="auto">
          <a:xfrm>
            <a:off x="0" y="3"/>
            <a:ext cx="12436475" cy="10511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146267" rIns="182833" bIns="146267"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730" y="221851"/>
            <a:ext cx="1395687" cy="610613"/>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86058" y="430092"/>
            <a:ext cx="1566063" cy="575987"/>
          </a:xfrm>
          <a:prstGeom prst="rect">
            <a:avLst/>
          </a:prstGeom>
        </p:spPr>
      </p:pic>
    </p:spTree>
    <p:extLst>
      <p:ext uri="{BB962C8B-B14F-4D97-AF65-F5344CB8AC3E}">
        <p14:creationId xmlns:p14="http://schemas.microsoft.com/office/powerpoint/2010/main" val="415283356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with top strap">
    <p:bg>
      <p:bgPr>
        <a:solidFill>
          <a:srgbClr val="0072C6"/>
        </a:solidFill>
        <a:effectLst/>
      </p:bgPr>
    </p:bg>
    <p:spTree>
      <p:nvGrpSpPr>
        <p:cNvPr id="1" name=""/>
        <p:cNvGrpSpPr/>
        <p:nvPr/>
      </p:nvGrpSpPr>
      <p:grpSpPr>
        <a:xfrm>
          <a:off x="0" y="0"/>
          <a:ext cx="0" cy="0"/>
          <a:chOff x="0" y="0"/>
          <a:chExt cx="0" cy="0"/>
        </a:xfrm>
      </p:grpSpPr>
      <p:sp>
        <p:nvSpPr>
          <p:cNvPr id="15" name="Rectangle 14"/>
          <p:cNvSpPr/>
          <p:nvPr userDrawn="1"/>
        </p:nvSpPr>
        <p:spPr bwMode="auto">
          <a:xfrm>
            <a:off x="0" y="3"/>
            <a:ext cx="12436475" cy="10511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146267" rIns="182833" bIns="146267"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730" y="221851"/>
            <a:ext cx="1395687" cy="610613"/>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86058" y="430092"/>
            <a:ext cx="1566063" cy="575987"/>
          </a:xfrm>
          <a:prstGeom prst="rect">
            <a:avLst/>
          </a:prstGeom>
        </p:spPr>
      </p:pic>
    </p:spTree>
    <p:extLst>
      <p:ext uri="{BB962C8B-B14F-4D97-AF65-F5344CB8AC3E}">
        <p14:creationId xmlns:p14="http://schemas.microsoft.com/office/powerpoint/2010/main" val="326112118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BG header only">
    <p:bg>
      <p:bgPr>
        <a:solidFill>
          <a:schemeClr val="tx1"/>
        </a:solidFill>
        <a:effectLst/>
      </p:bgPr>
    </p:bg>
    <p:spTree>
      <p:nvGrpSpPr>
        <p:cNvPr id="1" name=""/>
        <p:cNvGrpSpPr/>
        <p:nvPr/>
      </p:nvGrpSpPr>
      <p:grpSpPr>
        <a:xfrm>
          <a:off x="0" y="0"/>
          <a:ext cx="0" cy="0"/>
          <a:chOff x="0" y="0"/>
          <a:chExt cx="0" cy="0"/>
        </a:xfrm>
      </p:grpSpPr>
      <p:sp>
        <p:nvSpPr>
          <p:cNvPr id="15" name="Rectangle 14"/>
          <p:cNvSpPr/>
          <p:nvPr userDrawn="1"/>
        </p:nvSpPr>
        <p:spPr bwMode="auto">
          <a:xfrm>
            <a:off x="0" y="3"/>
            <a:ext cx="12436475" cy="10511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146267" rIns="182833" bIns="146267" numCol="1" spcCol="0" rtlCol="0" fromWordArt="0" anchor="t" anchorCtr="0" forceAA="0" compatLnSpc="1">
            <a:prstTxWarp prst="textNoShape">
              <a:avLst/>
            </a:prstTxWarp>
            <a:noAutofit/>
          </a:bodyPr>
          <a:lstStyle/>
          <a:p>
            <a:pPr algn="ctr" defTabSz="932232" fontAlgn="base">
              <a:lnSpc>
                <a:spcPct val="90000"/>
              </a:lnSpc>
              <a:spcBef>
                <a:spcPct val="0"/>
              </a:spcBef>
              <a:spcAft>
                <a:spcPct val="0"/>
              </a:spcAft>
            </a:pPr>
            <a:endParaRPr lang="en-AU"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descr="TechEd logo 2014_CMYK_WHITE-04.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4730" y="221851"/>
            <a:ext cx="1395687" cy="610613"/>
          </a:xfrm>
          <a:prstGeom prst="rect">
            <a:avLst/>
          </a:prstGeom>
        </p:spPr>
      </p:pic>
      <p:pic>
        <p:nvPicPr>
          <p:cNvPr id="17" name="Picture 16" descr="MSFT_logo_rgb_C-Wht_D.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86058" y="430092"/>
            <a:ext cx="1566063" cy="575987"/>
          </a:xfrm>
          <a:prstGeom prst="rect">
            <a:avLst/>
          </a:prstGeom>
        </p:spPr>
      </p:pic>
      <p:sp>
        <p:nvSpPr>
          <p:cNvPr id="5" name="Title 1"/>
          <p:cNvSpPr>
            <a:spLocks noGrp="1"/>
          </p:cNvSpPr>
          <p:nvPr>
            <p:ph type="title"/>
          </p:nvPr>
        </p:nvSpPr>
        <p:spPr>
          <a:xfrm>
            <a:off x="170223" y="1070844"/>
            <a:ext cx="12000683" cy="917575"/>
          </a:xfrm>
        </p:spPr>
        <p:txBody>
          <a:bodyPr/>
          <a:lstStyle>
            <a:lvl1pPr>
              <a:lnSpc>
                <a:spcPct val="85000"/>
              </a:lnSpc>
              <a:defRPr sz="4900">
                <a:solidFill>
                  <a:schemeClr val="bg2"/>
                </a:solidFill>
              </a:defRPr>
            </a:lvl1pPr>
          </a:lstStyle>
          <a:p>
            <a:r>
              <a:rPr lang="en-AU" dirty="0" smtClean="0"/>
              <a:t>Click to edit Master title style</a:t>
            </a:r>
            <a:endParaRPr lang="en-US" dirty="0"/>
          </a:p>
        </p:txBody>
      </p:sp>
    </p:spTree>
    <p:extLst>
      <p:ext uri="{BB962C8B-B14F-4D97-AF65-F5344CB8AC3E}">
        <p14:creationId xmlns:p14="http://schemas.microsoft.com/office/powerpoint/2010/main" val="397243582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6" name="Picture 5" descr="TechEd logo 2014_CMYK_WHITE-04.eps"/>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800984" y="6125554"/>
            <a:ext cx="1370380" cy="599541"/>
          </a:xfrm>
          <a:prstGeom prst="rect">
            <a:avLst/>
          </a:prstGeom>
        </p:spPr>
      </p:pic>
      <p:sp>
        <p:nvSpPr>
          <p:cNvPr id="2" name="Title Placeholder 1"/>
          <p:cNvSpPr>
            <a:spLocks noGrp="1"/>
          </p:cNvSpPr>
          <p:nvPr>
            <p:ph type="title"/>
          </p:nvPr>
        </p:nvSpPr>
        <p:spPr>
          <a:xfrm>
            <a:off x="170222" y="109519"/>
            <a:ext cx="11889565" cy="917575"/>
          </a:xfrm>
          <a:prstGeom prst="rect">
            <a:avLst/>
          </a:prstGeom>
        </p:spPr>
        <p:txBody>
          <a:bodyPr vert="horz" wrap="square" lIns="146286" tIns="91429" rIns="146286" bIns="91429" rtlCol="0" anchor="t">
            <a:noAutofit/>
          </a:bodyPr>
          <a:lstStyle/>
          <a:p>
            <a:r>
              <a:rPr lang="en-AU" dirty="0" smtClean="0"/>
              <a:t>Click to edit Master title style</a:t>
            </a:r>
            <a:endParaRPr lang="en-US" dirty="0"/>
          </a:p>
        </p:txBody>
      </p:sp>
      <p:sp>
        <p:nvSpPr>
          <p:cNvPr id="4" name="Text Placeholder 3"/>
          <p:cNvSpPr>
            <a:spLocks noGrp="1"/>
          </p:cNvSpPr>
          <p:nvPr>
            <p:ph type="body" idx="1"/>
          </p:nvPr>
        </p:nvSpPr>
        <p:spPr>
          <a:xfrm>
            <a:off x="170541" y="1025471"/>
            <a:ext cx="11887197" cy="2255344"/>
          </a:xfrm>
          <a:prstGeom prst="rect">
            <a:avLst/>
          </a:prstGeom>
        </p:spPr>
        <p:txBody>
          <a:bodyPr vert="horz" wrap="square" lIns="146286" tIns="91429" rIns="146286" bIns="91429" rtlCol="0">
            <a:spAutoFit/>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dirty="0"/>
          </a:p>
        </p:txBody>
      </p:sp>
    </p:spTree>
    <p:extLst>
      <p:ext uri="{BB962C8B-B14F-4D97-AF65-F5344CB8AC3E}">
        <p14:creationId xmlns:p14="http://schemas.microsoft.com/office/powerpoint/2010/main" val="707125225"/>
      </p:ext>
    </p:extLst>
  </p:cSld>
  <p:clrMap bg1="dk1" tx1="lt1" bg2="dk2" tx2="lt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 id="2147484245" r:id="rId17"/>
  </p:sldLayoutIdLst>
  <p:transition>
    <p:fade/>
  </p:transition>
  <p:timing>
    <p:tnLst>
      <p:par>
        <p:cTn id="1" dur="indefinite" restart="never" nodeType="tmRoot"/>
      </p:par>
    </p:tnLst>
  </p:timing>
  <p:txStyles>
    <p:titleStyle>
      <a:lvl1pPr algn="l" defTabSz="932623"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56" marR="0" indent="-342856" algn="l" defTabSz="932623"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4125" marR="0" indent="-241269" algn="l" defTabSz="93262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23" rtl="0" eaLnBrk="1" latinLnBrk="0" hangingPunct="1">
        <a:defRPr sz="1800" kern="1200">
          <a:solidFill>
            <a:schemeClr val="tx1"/>
          </a:solidFill>
          <a:latin typeface="+mn-lt"/>
          <a:ea typeface="+mn-ea"/>
          <a:cs typeface="+mn-cs"/>
        </a:defRPr>
      </a:lvl1pPr>
      <a:lvl2pPr marL="466311" algn="l" defTabSz="932623" rtl="0" eaLnBrk="1" latinLnBrk="0" hangingPunct="1">
        <a:defRPr sz="1800" kern="1200">
          <a:solidFill>
            <a:schemeClr val="tx1"/>
          </a:solidFill>
          <a:latin typeface="+mn-lt"/>
          <a:ea typeface="+mn-ea"/>
          <a:cs typeface="+mn-cs"/>
        </a:defRPr>
      </a:lvl2pPr>
      <a:lvl3pPr marL="932623" algn="l" defTabSz="932623" rtl="0" eaLnBrk="1" latinLnBrk="0" hangingPunct="1">
        <a:defRPr sz="1800" kern="1200">
          <a:solidFill>
            <a:schemeClr val="tx1"/>
          </a:solidFill>
          <a:latin typeface="+mn-lt"/>
          <a:ea typeface="+mn-ea"/>
          <a:cs typeface="+mn-cs"/>
        </a:defRPr>
      </a:lvl3pPr>
      <a:lvl4pPr marL="1398934" algn="l" defTabSz="932623" rtl="0" eaLnBrk="1" latinLnBrk="0" hangingPunct="1">
        <a:defRPr sz="1800" kern="1200">
          <a:solidFill>
            <a:schemeClr val="tx1"/>
          </a:solidFill>
          <a:latin typeface="+mn-lt"/>
          <a:ea typeface="+mn-ea"/>
          <a:cs typeface="+mn-cs"/>
        </a:defRPr>
      </a:lvl4pPr>
      <a:lvl5pPr marL="1865245" algn="l" defTabSz="932623" rtl="0" eaLnBrk="1" latinLnBrk="0" hangingPunct="1">
        <a:defRPr sz="1800" kern="1200">
          <a:solidFill>
            <a:schemeClr val="tx1"/>
          </a:solidFill>
          <a:latin typeface="+mn-lt"/>
          <a:ea typeface="+mn-ea"/>
          <a:cs typeface="+mn-cs"/>
        </a:defRPr>
      </a:lvl5pPr>
      <a:lvl6pPr marL="2331558" algn="l" defTabSz="932623" rtl="0" eaLnBrk="1" latinLnBrk="0" hangingPunct="1">
        <a:defRPr sz="1800" kern="1200">
          <a:solidFill>
            <a:schemeClr val="tx1"/>
          </a:solidFill>
          <a:latin typeface="+mn-lt"/>
          <a:ea typeface="+mn-ea"/>
          <a:cs typeface="+mn-cs"/>
        </a:defRPr>
      </a:lvl6pPr>
      <a:lvl7pPr marL="2797868" algn="l" defTabSz="932623" rtl="0" eaLnBrk="1" latinLnBrk="0" hangingPunct="1">
        <a:defRPr sz="1800" kern="1200">
          <a:solidFill>
            <a:schemeClr val="tx1"/>
          </a:solidFill>
          <a:latin typeface="+mn-lt"/>
          <a:ea typeface="+mn-ea"/>
          <a:cs typeface="+mn-cs"/>
        </a:defRPr>
      </a:lvl7pPr>
      <a:lvl8pPr marL="3264180" algn="l" defTabSz="932623" rtl="0" eaLnBrk="1" latinLnBrk="0" hangingPunct="1">
        <a:defRPr sz="1800" kern="1200">
          <a:solidFill>
            <a:schemeClr val="tx1"/>
          </a:solidFill>
          <a:latin typeface="+mn-lt"/>
          <a:ea typeface="+mn-ea"/>
          <a:cs typeface="+mn-cs"/>
        </a:defRPr>
      </a:lvl8pPr>
      <a:lvl9pPr marL="3730491" algn="l" defTabSz="9326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slideLayout" Target="../slideLayouts/slideLayout12.xml"/><Relationship Id="rId21" Type="http://schemas.openxmlformats.org/officeDocument/2006/relationships/image" Target="../media/image29.jpeg"/><Relationship Id="rId7" Type="http://schemas.openxmlformats.org/officeDocument/2006/relationships/image" Target="../media/image17.emf"/><Relationship Id="rId12" Type="http://schemas.openxmlformats.org/officeDocument/2006/relationships/image" Target="../media/image22.emf"/><Relationship Id="rId17" Type="http://schemas.openxmlformats.org/officeDocument/2006/relationships/image" Target="../media/image27.emf"/><Relationship Id="rId2" Type="http://schemas.openxmlformats.org/officeDocument/2006/relationships/tags" Target="../tags/tag6.xml"/><Relationship Id="rId16" Type="http://schemas.openxmlformats.org/officeDocument/2006/relationships/image" Target="../media/image26.emf"/><Relationship Id="rId20" Type="http://schemas.microsoft.com/office/2007/relationships/hdphoto" Target="../media/hdphoto3.wdp"/><Relationship Id="rId1" Type="http://schemas.openxmlformats.org/officeDocument/2006/relationships/tags" Target="../tags/tag5.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emf"/><Relationship Id="rId19" Type="http://schemas.openxmlformats.org/officeDocument/2006/relationships/image" Target="../media/image7.png"/><Relationship Id="rId4" Type="http://schemas.openxmlformats.org/officeDocument/2006/relationships/image" Target="../media/image14.jpeg"/><Relationship Id="rId9" Type="http://schemas.openxmlformats.org/officeDocument/2006/relationships/image" Target="../media/image19.emf"/><Relationship Id="rId14" Type="http://schemas.openxmlformats.org/officeDocument/2006/relationships/image" Target="../media/image24.png"/></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png"/><Relationship Id="rId10" Type="http://schemas.microsoft.com/office/2007/relationships/hdphoto" Target="../media/hdphoto2.wdp"/><Relationship Id="rId4" Type="http://schemas.openxmlformats.org/officeDocument/2006/relationships/notesSlide" Target="../notesSlides/notesSlide3.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7.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6606" t="7871" r="6788" b="42130"/>
          <a:stretch/>
        </p:blipFill>
        <p:spPr>
          <a:xfrm>
            <a:off x="0" y="1054702"/>
            <a:ext cx="12436475" cy="5939823"/>
          </a:xfrm>
          <a:prstGeom prst="rect">
            <a:avLst/>
          </a:prstGeom>
        </p:spPr>
      </p:pic>
      <p:sp>
        <p:nvSpPr>
          <p:cNvPr id="2" name="Title 8"/>
          <p:cNvSpPr txBox="1">
            <a:spLocks/>
          </p:cNvSpPr>
          <p:nvPr/>
        </p:nvSpPr>
        <p:spPr>
          <a:xfrm>
            <a:off x="188167" y="1207362"/>
            <a:ext cx="4543896" cy="520882"/>
          </a:xfrm>
          <a:prstGeom prst="rect">
            <a:avLst/>
          </a:prstGeom>
        </p:spPr>
        <p:txBody>
          <a:bodyPr/>
          <a:lstStyle>
            <a:lvl1pPr algn="l" defTabSz="914400" rtl="0" eaLnBrk="1" latinLnBrk="0" hangingPunct="1">
              <a:spcBef>
                <a:spcPct val="0"/>
              </a:spcBef>
              <a:buNone/>
              <a:defRPr sz="4400" kern="1200">
                <a:solidFill>
                  <a:schemeClr val="bg1"/>
                </a:solidFill>
                <a:latin typeface="Segoe UI Light" pitchFamily="34" charset="0"/>
                <a:ea typeface="+mj-ea"/>
                <a:cs typeface="+mj-cs"/>
              </a:defRPr>
            </a:lvl1pPr>
          </a:lstStyle>
          <a:p>
            <a:r>
              <a:rPr lang="en-GB" sz="4080" dirty="0">
                <a:solidFill>
                  <a:schemeClr val="tx1"/>
                </a:solidFill>
              </a:rPr>
              <a:t>Transform, Pivot</a:t>
            </a:r>
          </a:p>
        </p:txBody>
      </p:sp>
    </p:spTree>
    <p:extLst>
      <p:ext uri="{BB962C8B-B14F-4D97-AF65-F5344CB8AC3E}">
        <p14:creationId xmlns:p14="http://schemas.microsoft.com/office/powerpoint/2010/main" val="150479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oes IT have insight?</a:t>
            </a:r>
            <a:endParaRPr lang="en-US" dirty="0"/>
          </a:p>
        </p:txBody>
      </p:sp>
      <p:sp>
        <p:nvSpPr>
          <p:cNvPr id="3" name="Text Placeholder 2"/>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41121621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6365579" y="2504972"/>
            <a:ext cx="2787945" cy="9159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7" name="TextBox 76"/>
          <p:cNvSpPr txBox="1"/>
          <p:nvPr/>
        </p:nvSpPr>
        <p:spPr>
          <a:xfrm>
            <a:off x="10510479" y="3871905"/>
            <a:ext cx="2176074" cy="608385"/>
          </a:xfrm>
          <a:prstGeom prst="rect">
            <a:avLst/>
          </a:prstGeom>
          <a:noFill/>
        </p:spPr>
        <p:txBody>
          <a:bodyPr wrap="square" rtlCol="0">
            <a:spAutoFit/>
          </a:bodyPr>
          <a:lstStyle/>
          <a:p>
            <a:pPr defTabSz="932597"/>
            <a:r>
              <a:rPr lang="en-US" sz="1092" dirty="0"/>
              <a:t>Excel,</a:t>
            </a:r>
          </a:p>
          <a:p>
            <a:pPr defTabSz="932597"/>
            <a:r>
              <a:rPr lang="en-US" sz="1092" dirty="0"/>
              <a:t>Tablet/Mobile,</a:t>
            </a:r>
          </a:p>
          <a:p>
            <a:pPr defTabSz="932597"/>
            <a:r>
              <a:rPr lang="en-US" sz="1092" dirty="0"/>
              <a:t>Browser – Silverlight, HTML5</a:t>
            </a:r>
          </a:p>
        </p:txBody>
      </p:sp>
      <p:pic>
        <p:nvPicPr>
          <p:cNvPr id="4" name="Picture 4" descr="http://www.ttc.ualberta.ca/~/media/ttc/Images/open-house/sharepoin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86667" y="5843390"/>
            <a:ext cx="1200889" cy="95846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5" cstate="screen">
            <a:extLst>
              <a:ext uri="{28A0092B-C50C-407E-A947-70E740481C1C}">
                <a14:useLocalDpi xmlns:a14="http://schemas.microsoft.com/office/drawing/2010/main"/>
              </a:ext>
            </a:extLst>
          </a:blip>
          <a:srcRect t="-21416"/>
          <a:stretch/>
        </p:blipFill>
        <p:spPr>
          <a:xfrm>
            <a:off x="6372445" y="4236396"/>
            <a:ext cx="2785225" cy="1552529"/>
          </a:xfrm>
          <a:prstGeom prst="rect">
            <a:avLst/>
          </a:prstGeom>
        </p:spPr>
      </p:pic>
      <p:sp>
        <p:nvSpPr>
          <p:cNvPr id="6" name="Rectangle 5"/>
          <p:cNvSpPr/>
          <p:nvPr/>
        </p:nvSpPr>
        <p:spPr bwMode="auto">
          <a:xfrm>
            <a:off x="6365580" y="4236395"/>
            <a:ext cx="2783792" cy="541369"/>
          </a:xfrm>
          <a:prstGeom prst="rect">
            <a:avLst/>
          </a:prstGeom>
          <a:solidFill>
            <a:schemeClr val="accent2"/>
          </a:solidFill>
          <a:ln w="38100" cap="flat" cmpd="sng" algn="ctr">
            <a:noFill/>
            <a:prstDash val="solid"/>
            <a:headEnd type="none" w="med" len="med"/>
            <a:tailEnd type="none" w="med" len="med"/>
          </a:ln>
          <a:effectLst/>
        </p:spPr>
        <p:txBody>
          <a:bodyPr vert="horz" wrap="square" lIns="93260" tIns="93260" rIns="93260" bIns="142676" numCol="1" rtlCol="0" anchor="t" anchorCtr="0" compatLnSpc="1">
            <a:prstTxWarp prst="textNoShape">
              <a:avLst/>
            </a:prstTxWarp>
          </a:bodyPr>
          <a:lstStyle/>
          <a:p>
            <a:pPr defTabSz="950843" fontAlgn="base">
              <a:lnSpc>
                <a:spcPct val="90000"/>
              </a:lnSpc>
              <a:spcBef>
                <a:spcPct val="0"/>
              </a:spcBef>
              <a:spcAft>
                <a:spcPct val="0"/>
              </a:spcAft>
              <a:defRPr/>
            </a:pPr>
            <a:r>
              <a:rPr lang="en-US" sz="1224" kern="0" spc="-42" dirty="0">
                <a:gradFill>
                  <a:gsLst>
                    <a:gs pos="0">
                      <a:srgbClr val="FFFFFF"/>
                    </a:gs>
                    <a:gs pos="100000">
                      <a:srgbClr val="FFFFFF"/>
                    </a:gs>
                  </a:gsLst>
                  <a:lin ang="5400000" scaled="0"/>
                </a:gradFill>
                <a:latin typeface="Segoe UI Light" pitchFamily="34" charset="0"/>
              </a:rPr>
              <a:t>Insights in Excel</a:t>
            </a:r>
            <a:br>
              <a:rPr lang="en-US" sz="1224" kern="0" spc="-42" dirty="0">
                <a:gradFill>
                  <a:gsLst>
                    <a:gs pos="0">
                      <a:srgbClr val="FFFFFF"/>
                    </a:gs>
                    <a:gs pos="100000">
                      <a:srgbClr val="FFFFFF"/>
                    </a:gs>
                  </a:gsLst>
                  <a:lin ang="5400000" scaled="0"/>
                </a:gradFill>
                <a:latin typeface="Segoe UI Light" pitchFamily="34" charset="0"/>
              </a:rPr>
            </a:br>
            <a:r>
              <a:rPr lang="en-US" sz="1224" i="1" dirty="0">
                <a:solidFill>
                  <a:srgbClr val="FFFFFF"/>
                </a:solidFill>
              </a:rPr>
              <a:t>1 Billion Office Users</a:t>
            </a:r>
          </a:p>
          <a:p>
            <a:pPr defTabSz="950843" fontAlgn="base">
              <a:lnSpc>
                <a:spcPct val="90000"/>
              </a:lnSpc>
              <a:spcBef>
                <a:spcPct val="0"/>
              </a:spcBef>
              <a:spcAft>
                <a:spcPct val="0"/>
              </a:spcAft>
              <a:defRPr/>
            </a:pPr>
            <a:endParaRPr lang="en-US" sz="3162" kern="0" spc="-42" dirty="0">
              <a:gradFill>
                <a:gsLst>
                  <a:gs pos="0">
                    <a:srgbClr val="FFFFFF"/>
                  </a:gs>
                  <a:gs pos="100000">
                    <a:srgbClr val="FFFFFF"/>
                  </a:gs>
                </a:gsLst>
                <a:lin ang="5400000" scaled="0"/>
              </a:gradFill>
              <a:latin typeface="Segoe UI Light" pitchFamily="34" charset="0"/>
            </a:endParaRPr>
          </a:p>
        </p:txBody>
      </p:sp>
      <p:sp>
        <p:nvSpPr>
          <p:cNvPr id="7" name="Title 1"/>
          <p:cNvSpPr>
            <a:spLocks noGrp="1"/>
          </p:cNvSpPr>
          <p:nvPr>
            <p:ph type="title"/>
          </p:nvPr>
        </p:nvSpPr>
        <p:spPr/>
        <p:txBody>
          <a:bodyPr>
            <a:noAutofit/>
          </a:bodyPr>
          <a:lstStyle/>
          <a:p>
            <a:r>
              <a:rPr lang="en-US" sz="2856" dirty="0" smtClean="0"/>
              <a:t> </a:t>
            </a:r>
            <a:r>
              <a:rPr lang="en-US" sz="2856" dirty="0"/>
              <a:t>Component Diagram for Power BI Hybrid Architecture</a:t>
            </a:r>
          </a:p>
        </p:txBody>
      </p:sp>
      <p:pic>
        <p:nvPicPr>
          <p:cNvPr id="8" name="Content Placeholder 3"/>
          <p:cNvPicPr>
            <a:picLocks noGrp="1" noChangeAspect="1"/>
          </p:cNvPicPr>
          <p:nvPr>
            <p:ph sz="quarter" idx="4294967295"/>
          </p:nvPr>
        </p:nvPicPr>
        <p:blipFill>
          <a:blip r:embed="rId6"/>
          <a:stretch>
            <a:fillRect/>
          </a:stretch>
        </p:blipFill>
        <p:spPr>
          <a:xfrm>
            <a:off x="875137" y="930275"/>
            <a:ext cx="4362026" cy="2247900"/>
          </a:xfrm>
          <a:prstGeom prst="rect">
            <a:avLst/>
          </a:prstGeom>
        </p:spPr>
      </p:pic>
      <p:pic>
        <p:nvPicPr>
          <p:cNvPr id="9" name="Picture 8"/>
          <p:cNvPicPr>
            <a:picLocks noChangeAspect="1"/>
          </p:cNvPicPr>
          <p:nvPr/>
        </p:nvPicPr>
        <p:blipFill>
          <a:blip r:embed="rId7"/>
          <a:stretch>
            <a:fillRect/>
          </a:stretch>
        </p:blipFill>
        <p:spPr>
          <a:xfrm>
            <a:off x="4010678" y="5349009"/>
            <a:ext cx="493372" cy="601242"/>
          </a:xfrm>
          <a:prstGeom prst="rect">
            <a:avLst/>
          </a:prstGeom>
        </p:spPr>
      </p:pic>
      <p:pic>
        <p:nvPicPr>
          <p:cNvPr id="10" name="Picture 9"/>
          <p:cNvPicPr>
            <a:picLocks noChangeAspect="1"/>
          </p:cNvPicPr>
          <p:nvPr/>
        </p:nvPicPr>
        <p:blipFill>
          <a:blip r:embed="rId8"/>
          <a:stretch>
            <a:fillRect/>
          </a:stretch>
        </p:blipFill>
        <p:spPr>
          <a:xfrm>
            <a:off x="4050443" y="3255379"/>
            <a:ext cx="638481" cy="544655"/>
          </a:xfrm>
          <a:prstGeom prst="rect">
            <a:avLst/>
          </a:prstGeom>
        </p:spPr>
      </p:pic>
      <p:pic>
        <p:nvPicPr>
          <p:cNvPr id="11" name="Picture 10"/>
          <p:cNvPicPr>
            <a:picLocks noChangeAspect="1"/>
          </p:cNvPicPr>
          <p:nvPr/>
        </p:nvPicPr>
        <p:blipFill>
          <a:blip r:embed="rId9">
            <a:biLevel thresh="25000"/>
          </a:blip>
          <a:stretch>
            <a:fillRect/>
          </a:stretch>
        </p:blipFill>
        <p:spPr>
          <a:xfrm>
            <a:off x="7628440" y="6085029"/>
            <a:ext cx="507883" cy="551728"/>
          </a:xfrm>
          <a:prstGeom prst="rect">
            <a:avLst/>
          </a:prstGeom>
        </p:spPr>
      </p:pic>
      <p:pic>
        <p:nvPicPr>
          <p:cNvPr id="12" name="Picture 11"/>
          <p:cNvPicPr>
            <a:picLocks noChangeAspect="1"/>
          </p:cNvPicPr>
          <p:nvPr/>
        </p:nvPicPr>
        <p:blipFill>
          <a:blip r:embed="rId10"/>
          <a:stretch>
            <a:fillRect/>
          </a:stretch>
        </p:blipFill>
        <p:spPr>
          <a:xfrm>
            <a:off x="1714767" y="2401649"/>
            <a:ext cx="580437" cy="530508"/>
          </a:xfrm>
          <a:prstGeom prst="rect">
            <a:avLst/>
          </a:prstGeom>
        </p:spPr>
      </p:pic>
      <p:pic>
        <p:nvPicPr>
          <p:cNvPr id="13" name="Picture 12"/>
          <p:cNvPicPr>
            <a:picLocks noChangeAspect="1"/>
          </p:cNvPicPr>
          <p:nvPr/>
        </p:nvPicPr>
        <p:blipFill>
          <a:blip r:embed="rId11"/>
          <a:stretch>
            <a:fillRect/>
          </a:stretch>
        </p:blipFill>
        <p:spPr>
          <a:xfrm>
            <a:off x="2859717" y="1207362"/>
            <a:ext cx="573182" cy="353672"/>
          </a:xfrm>
          <a:prstGeom prst="rect">
            <a:avLst/>
          </a:prstGeom>
        </p:spPr>
      </p:pic>
      <p:pic>
        <p:nvPicPr>
          <p:cNvPr id="14" name="Picture 13"/>
          <p:cNvPicPr>
            <a:picLocks noChangeAspect="1"/>
          </p:cNvPicPr>
          <p:nvPr/>
        </p:nvPicPr>
        <p:blipFill>
          <a:blip r:embed="rId12">
            <a:duotone>
              <a:prstClr val="black"/>
              <a:schemeClr val="accent5">
                <a:tint val="45000"/>
                <a:satMod val="400000"/>
              </a:schemeClr>
            </a:duotone>
          </a:blip>
          <a:stretch>
            <a:fillRect/>
          </a:stretch>
        </p:blipFill>
        <p:spPr>
          <a:xfrm>
            <a:off x="11890109" y="4460082"/>
            <a:ext cx="378133" cy="334790"/>
          </a:xfrm>
          <a:prstGeom prst="rect">
            <a:avLst/>
          </a:prstGeom>
        </p:spPr>
      </p:pic>
      <p:sp>
        <p:nvSpPr>
          <p:cNvPr id="15" name="TextBox 14"/>
          <p:cNvSpPr txBox="1"/>
          <p:nvPr/>
        </p:nvSpPr>
        <p:spPr>
          <a:xfrm>
            <a:off x="2554397" y="1512682"/>
            <a:ext cx="1220087" cy="265576"/>
          </a:xfrm>
          <a:prstGeom prst="rect">
            <a:avLst/>
          </a:prstGeom>
          <a:noFill/>
        </p:spPr>
        <p:txBody>
          <a:bodyPr wrap="square" rtlCol="0">
            <a:spAutoFit/>
          </a:bodyPr>
          <a:lstStyle/>
          <a:p>
            <a:pPr defTabSz="932597"/>
            <a:r>
              <a:rPr lang="en-US" sz="1092" b="1" dirty="0">
                <a:solidFill>
                  <a:srgbClr val="505050"/>
                </a:solidFill>
              </a:rPr>
              <a:t>O365 Power BI </a:t>
            </a:r>
          </a:p>
        </p:txBody>
      </p:sp>
      <p:sp>
        <p:nvSpPr>
          <p:cNvPr id="16" name="TextBox 15"/>
          <p:cNvSpPr txBox="1"/>
          <p:nvPr/>
        </p:nvSpPr>
        <p:spPr>
          <a:xfrm>
            <a:off x="3836731" y="5922712"/>
            <a:ext cx="761672" cy="265576"/>
          </a:xfrm>
          <a:prstGeom prst="rect">
            <a:avLst/>
          </a:prstGeom>
          <a:noFill/>
        </p:spPr>
        <p:txBody>
          <a:bodyPr wrap="square" rtlCol="0">
            <a:spAutoFit/>
          </a:bodyPr>
          <a:lstStyle/>
          <a:p>
            <a:pPr defTabSz="932597"/>
            <a:r>
              <a:rPr lang="en-US" sz="1092" dirty="0" err="1">
                <a:solidFill>
                  <a:srgbClr val="505050"/>
                </a:solidFill>
              </a:rPr>
              <a:t>Datamart</a:t>
            </a:r>
            <a:endParaRPr lang="en-US" sz="1092" dirty="0">
              <a:solidFill>
                <a:srgbClr val="505050"/>
              </a:solidFill>
            </a:endParaRPr>
          </a:p>
        </p:txBody>
      </p:sp>
      <p:sp>
        <p:nvSpPr>
          <p:cNvPr id="17" name="TextBox 16"/>
          <p:cNvSpPr txBox="1"/>
          <p:nvPr/>
        </p:nvSpPr>
        <p:spPr>
          <a:xfrm>
            <a:off x="4744765" y="3362564"/>
            <a:ext cx="1408807" cy="438875"/>
          </a:xfrm>
          <a:prstGeom prst="rect">
            <a:avLst/>
          </a:prstGeom>
          <a:noFill/>
        </p:spPr>
        <p:txBody>
          <a:bodyPr wrap="square" rtlCol="0">
            <a:spAutoFit/>
          </a:bodyPr>
          <a:lstStyle/>
          <a:p>
            <a:pPr defTabSz="932597"/>
            <a:r>
              <a:rPr lang="en-US" sz="1092" dirty="0"/>
              <a:t>Data Management Gateway</a:t>
            </a:r>
          </a:p>
        </p:txBody>
      </p:sp>
      <p:cxnSp>
        <p:nvCxnSpPr>
          <p:cNvPr id="18" name="Straight Arrow Connector 17"/>
          <p:cNvCxnSpPr>
            <a:endCxn id="9" idx="0"/>
          </p:cNvCxnSpPr>
          <p:nvPr/>
        </p:nvCxnSpPr>
        <p:spPr>
          <a:xfrm>
            <a:off x="4257364" y="3800034"/>
            <a:ext cx="0" cy="1548975"/>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554397" y="2401649"/>
            <a:ext cx="539093" cy="482554"/>
          </a:xfrm>
          <a:prstGeom prst="rect">
            <a:avLst/>
          </a:prstGeom>
        </p:spPr>
      </p:pic>
      <p:pic>
        <p:nvPicPr>
          <p:cNvPr id="20" name="Picture 1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394027" y="2430549"/>
            <a:ext cx="583175" cy="482554"/>
          </a:xfrm>
          <a:prstGeom prst="rect">
            <a:avLst/>
          </a:prstGeom>
        </p:spPr>
      </p:pic>
      <p:pic>
        <p:nvPicPr>
          <p:cNvPr id="21" name="Picture 2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157327" y="2428642"/>
            <a:ext cx="557706" cy="482554"/>
          </a:xfrm>
          <a:prstGeom prst="rect">
            <a:avLst/>
          </a:prstGeom>
        </p:spPr>
      </p:pic>
      <p:sp>
        <p:nvSpPr>
          <p:cNvPr id="22" name="TextBox 21"/>
          <p:cNvSpPr txBox="1"/>
          <p:nvPr/>
        </p:nvSpPr>
        <p:spPr>
          <a:xfrm>
            <a:off x="1562107" y="1882403"/>
            <a:ext cx="1019544" cy="400110"/>
          </a:xfrm>
          <a:prstGeom prst="rect">
            <a:avLst/>
          </a:prstGeom>
          <a:noFill/>
        </p:spPr>
        <p:txBody>
          <a:bodyPr wrap="square" rtlCol="0">
            <a:spAutoFit/>
          </a:bodyPr>
          <a:lstStyle/>
          <a:p>
            <a:pPr defTabSz="932597"/>
            <a:r>
              <a:rPr lang="en-US" sz="1000" dirty="0">
                <a:solidFill>
                  <a:srgbClr val="505050"/>
                </a:solidFill>
              </a:rPr>
              <a:t>Corporate </a:t>
            </a:r>
          </a:p>
          <a:p>
            <a:pPr defTabSz="932597"/>
            <a:r>
              <a:rPr lang="en-US" sz="1000" dirty="0">
                <a:solidFill>
                  <a:srgbClr val="505050"/>
                </a:solidFill>
              </a:rPr>
              <a:t>Data Catalog</a:t>
            </a:r>
          </a:p>
        </p:txBody>
      </p:sp>
      <p:sp>
        <p:nvSpPr>
          <p:cNvPr id="23" name="TextBox 22"/>
          <p:cNvSpPr txBox="1"/>
          <p:nvPr/>
        </p:nvSpPr>
        <p:spPr>
          <a:xfrm>
            <a:off x="2335385" y="1881673"/>
            <a:ext cx="1019544" cy="400110"/>
          </a:xfrm>
          <a:prstGeom prst="rect">
            <a:avLst/>
          </a:prstGeom>
          <a:noFill/>
        </p:spPr>
        <p:txBody>
          <a:bodyPr wrap="square" rtlCol="0">
            <a:spAutoFit/>
          </a:bodyPr>
          <a:lstStyle/>
          <a:p>
            <a:pPr defTabSz="932597"/>
            <a:r>
              <a:rPr lang="en-US" sz="1000" dirty="0">
                <a:solidFill>
                  <a:srgbClr val="505050"/>
                </a:solidFill>
              </a:rPr>
              <a:t>Power BI Admin Center</a:t>
            </a:r>
          </a:p>
        </p:txBody>
      </p:sp>
      <p:sp>
        <p:nvSpPr>
          <p:cNvPr id="24" name="TextBox 23"/>
          <p:cNvSpPr txBox="1"/>
          <p:nvPr/>
        </p:nvSpPr>
        <p:spPr>
          <a:xfrm>
            <a:off x="3241366" y="1818002"/>
            <a:ext cx="949633" cy="572464"/>
          </a:xfrm>
          <a:prstGeom prst="rect">
            <a:avLst/>
          </a:prstGeom>
          <a:noFill/>
        </p:spPr>
        <p:txBody>
          <a:bodyPr wrap="square" rtlCol="0">
            <a:spAutoFit/>
          </a:bodyPr>
          <a:lstStyle/>
          <a:p>
            <a:pPr defTabSz="932597"/>
            <a:r>
              <a:rPr lang="en-US" sz="1000" dirty="0">
                <a:solidFill>
                  <a:srgbClr val="505050"/>
                </a:solidFill>
              </a:rPr>
              <a:t>Data Management Portal</a:t>
            </a:r>
          </a:p>
        </p:txBody>
      </p:sp>
      <p:cxnSp>
        <p:nvCxnSpPr>
          <p:cNvPr id="25" name="Straight Arrow Connector 24"/>
          <p:cNvCxnSpPr>
            <a:stCxn id="10" idx="1"/>
          </p:cNvCxnSpPr>
          <p:nvPr/>
        </p:nvCxnSpPr>
        <p:spPr>
          <a:xfrm flipH="1" flipV="1">
            <a:off x="2954127" y="3177786"/>
            <a:ext cx="1096316" cy="34992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092065" y="1891751"/>
            <a:ext cx="828562" cy="572464"/>
          </a:xfrm>
          <a:prstGeom prst="rect">
            <a:avLst/>
          </a:prstGeom>
          <a:noFill/>
        </p:spPr>
        <p:txBody>
          <a:bodyPr wrap="square" rtlCol="0">
            <a:spAutoFit/>
          </a:bodyPr>
          <a:lstStyle/>
          <a:p>
            <a:pPr defTabSz="932597"/>
            <a:r>
              <a:rPr lang="en-US" sz="1000" dirty="0">
                <a:solidFill>
                  <a:srgbClr val="505050"/>
                </a:solidFill>
              </a:rPr>
              <a:t>SPO team sites, BI Sites, Q&amp;A</a:t>
            </a:r>
          </a:p>
        </p:txBody>
      </p:sp>
      <p:sp>
        <p:nvSpPr>
          <p:cNvPr id="27" name="TextBox 26"/>
          <p:cNvSpPr txBox="1"/>
          <p:nvPr/>
        </p:nvSpPr>
        <p:spPr>
          <a:xfrm>
            <a:off x="7605055" y="6636756"/>
            <a:ext cx="1208402" cy="265576"/>
          </a:xfrm>
          <a:prstGeom prst="rect">
            <a:avLst/>
          </a:prstGeom>
          <a:noFill/>
        </p:spPr>
        <p:txBody>
          <a:bodyPr wrap="square" rtlCol="0">
            <a:spAutoFit/>
          </a:bodyPr>
          <a:lstStyle/>
          <a:p>
            <a:pPr defTabSz="932597"/>
            <a:r>
              <a:rPr lang="en-US" sz="1092" dirty="0"/>
              <a:t>IW (Author)</a:t>
            </a:r>
          </a:p>
        </p:txBody>
      </p:sp>
      <p:pic>
        <p:nvPicPr>
          <p:cNvPr id="28" name="Picture 27"/>
          <p:cNvPicPr>
            <a:picLocks noChangeAspect="1"/>
          </p:cNvPicPr>
          <p:nvPr/>
        </p:nvPicPr>
        <p:blipFill>
          <a:blip r:embed="rId9"/>
          <a:stretch>
            <a:fillRect/>
          </a:stretch>
        </p:blipFill>
        <p:spPr>
          <a:xfrm>
            <a:off x="11132214" y="3304589"/>
            <a:ext cx="507883" cy="551728"/>
          </a:xfrm>
          <a:prstGeom prst="rect">
            <a:avLst/>
          </a:prstGeom>
        </p:spPr>
      </p:pic>
      <p:pic>
        <p:nvPicPr>
          <p:cNvPr id="29" name="Picture 28"/>
          <p:cNvPicPr>
            <a:picLocks noChangeAspect="1"/>
          </p:cNvPicPr>
          <p:nvPr/>
        </p:nvPicPr>
        <p:blipFill>
          <a:blip r:embed="rId16"/>
          <a:stretch>
            <a:fillRect/>
          </a:stretch>
        </p:blipFill>
        <p:spPr>
          <a:xfrm>
            <a:off x="7976260" y="5937304"/>
            <a:ext cx="271168" cy="277419"/>
          </a:xfrm>
          <a:prstGeom prst="rect">
            <a:avLst/>
          </a:prstGeom>
        </p:spPr>
      </p:pic>
      <p:pic>
        <p:nvPicPr>
          <p:cNvPr id="30" name="Picture 29"/>
          <p:cNvPicPr>
            <a:picLocks noChangeAspect="1"/>
          </p:cNvPicPr>
          <p:nvPr/>
        </p:nvPicPr>
        <p:blipFill>
          <a:blip r:embed="rId16"/>
          <a:stretch>
            <a:fillRect/>
          </a:stretch>
        </p:blipFill>
        <p:spPr>
          <a:xfrm>
            <a:off x="10977624" y="3856316"/>
            <a:ext cx="271168" cy="277419"/>
          </a:xfrm>
          <a:prstGeom prst="rect">
            <a:avLst/>
          </a:prstGeom>
        </p:spPr>
      </p:pic>
      <p:pic>
        <p:nvPicPr>
          <p:cNvPr id="31" name="Picture 30"/>
          <p:cNvPicPr>
            <a:picLocks noChangeAspect="1"/>
          </p:cNvPicPr>
          <p:nvPr/>
        </p:nvPicPr>
        <p:blipFill>
          <a:blip r:embed="rId17">
            <a:duotone>
              <a:prstClr val="black"/>
              <a:schemeClr val="accent5">
                <a:tint val="45000"/>
                <a:satMod val="400000"/>
              </a:schemeClr>
            </a:duotone>
          </a:blip>
          <a:stretch>
            <a:fillRect/>
          </a:stretch>
        </p:blipFill>
        <p:spPr>
          <a:xfrm>
            <a:off x="11516497" y="3955242"/>
            <a:ext cx="197500" cy="271457"/>
          </a:xfrm>
          <a:prstGeom prst="rect">
            <a:avLst/>
          </a:prstGeom>
        </p:spPr>
      </p:pic>
      <p:sp>
        <p:nvSpPr>
          <p:cNvPr id="32" name="TextBox 31"/>
          <p:cNvSpPr txBox="1"/>
          <p:nvPr/>
        </p:nvSpPr>
        <p:spPr>
          <a:xfrm>
            <a:off x="8321386" y="5889513"/>
            <a:ext cx="1070065" cy="781706"/>
          </a:xfrm>
          <a:prstGeom prst="rect">
            <a:avLst/>
          </a:prstGeom>
          <a:noFill/>
        </p:spPr>
        <p:txBody>
          <a:bodyPr wrap="square" rtlCol="0">
            <a:spAutoFit/>
          </a:bodyPr>
          <a:lstStyle/>
          <a:p>
            <a:pPr defTabSz="932597"/>
            <a:r>
              <a:rPr lang="en-US" sz="1092" dirty="0"/>
              <a:t>Power Query</a:t>
            </a:r>
          </a:p>
          <a:p>
            <a:pPr defTabSz="932597"/>
            <a:r>
              <a:rPr lang="en-US" sz="1092" dirty="0"/>
              <a:t>Power Pivot</a:t>
            </a:r>
          </a:p>
          <a:p>
            <a:pPr defTabSz="932597"/>
            <a:r>
              <a:rPr lang="en-US" sz="1092" dirty="0"/>
              <a:t>Power View</a:t>
            </a:r>
          </a:p>
          <a:p>
            <a:pPr defTabSz="932597"/>
            <a:r>
              <a:rPr lang="en-US" sz="1092" dirty="0"/>
              <a:t>Power Map</a:t>
            </a:r>
          </a:p>
        </p:txBody>
      </p:sp>
      <p:sp>
        <p:nvSpPr>
          <p:cNvPr id="33" name="Rectangle 32"/>
          <p:cNvSpPr/>
          <p:nvPr/>
        </p:nvSpPr>
        <p:spPr bwMode="auto">
          <a:xfrm>
            <a:off x="9157669" y="5101857"/>
            <a:ext cx="873555" cy="835163"/>
          </a:xfrm>
          <a:prstGeom prst="rect">
            <a:avLst/>
          </a:prstGeom>
          <a:solidFill>
            <a:schemeClr val="accent2"/>
          </a:solidFill>
          <a:ln w="38100" cap="flat" cmpd="sng" algn="ctr">
            <a:noFill/>
            <a:prstDash val="solid"/>
            <a:headEnd type="none" w="med" len="med"/>
            <a:tailEnd type="none" w="med" len="med"/>
          </a:ln>
          <a:effectLst/>
        </p:spPr>
        <p:txBody>
          <a:bodyPr vert="horz" wrap="square" lIns="95112" tIns="93260" rIns="95112" bIns="93260" numCol="1" rtlCol="0" anchor="t" anchorCtr="0" compatLnSpc="1">
            <a:prstTxWarp prst="textNoShape">
              <a:avLst/>
            </a:prstTxWarp>
          </a:bodyPr>
          <a:lstStyle/>
          <a:p>
            <a:pPr defTabSz="950843" fontAlgn="base">
              <a:lnSpc>
                <a:spcPct val="90000"/>
              </a:lnSpc>
              <a:spcBef>
                <a:spcPct val="0"/>
              </a:spcBef>
              <a:spcAft>
                <a:spcPct val="0"/>
              </a:spcAft>
            </a:pPr>
            <a:r>
              <a:rPr lang="en-US" sz="1020" kern="0" dirty="0">
                <a:solidFill>
                  <a:srgbClr val="FFFFFF"/>
                </a:solidFill>
                <a:ea typeface="Segoe UI" pitchFamily="34" charset="0"/>
                <a:cs typeface="Segoe UI" pitchFamily="34" charset="0"/>
              </a:rPr>
              <a:t>Analyze</a:t>
            </a:r>
          </a:p>
        </p:txBody>
      </p:sp>
      <p:grpSp>
        <p:nvGrpSpPr>
          <p:cNvPr id="34" name="Group 33"/>
          <p:cNvGrpSpPr/>
          <p:nvPr/>
        </p:nvGrpSpPr>
        <p:grpSpPr>
          <a:xfrm flipH="1">
            <a:off x="9391451" y="5399441"/>
            <a:ext cx="343959" cy="451301"/>
            <a:chOff x="1539997" y="3645051"/>
            <a:chExt cx="800271" cy="1108369"/>
          </a:xfrm>
          <a:solidFill>
            <a:schemeClr val="bg1"/>
          </a:solidFill>
        </p:grpSpPr>
        <p:sp>
          <p:nvSpPr>
            <p:cNvPr id="35"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a:solidFill>
                  <a:srgbClr val="FFFFFF"/>
                </a:solidFill>
              </a:endParaRPr>
            </a:p>
          </p:txBody>
        </p:sp>
        <p:sp>
          <p:nvSpPr>
            <p:cNvPr id="36" name="Freeform 35"/>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32" dirty="0">
                <a:ln>
                  <a:solidFill>
                    <a:srgbClr val="505050">
                      <a:alpha val="0"/>
                    </a:srgbClr>
                  </a:solidFill>
                </a:ln>
                <a:solidFill>
                  <a:srgbClr val="505050"/>
                </a:solidFill>
              </a:endParaRPr>
            </a:p>
          </p:txBody>
        </p:sp>
      </p:grpSp>
      <p:sp>
        <p:nvSpPr>
          <p:cNvPr id="37" name="Rectangle 36"/>
          <p:cNvSpPr/>
          <p:nvPr/>
        </p:nvSpPr>
        <p:spPr bwMode="auto">
          <a:xfrm>
            <a:off x="9160774" y="5986116"/>
            <a:ext cx="888192" cy="835164"/>
          </a:xfrm>
          <a:prstGeom prst="rect">
            <a:avLst/>
          </a:prstGeom>
          <a:solidFill>
            <a:schemeClr val="accent2"/>
          </a:solidFill>
          <a:ln w="38100" cap="flat" cmpd="sng" algn="ctr">
            <a:noFill/>
            <a:prstDash val="solid"/>
            <a:headEnd type="none" w="med" len="med"/>
            <a:tailEnd type="none" w="med" len="med"/>
          </a:ln>
          <a:effectLst/>
        </p:spPr>
        <p:txBody>
          <a:bodyPr vert="horz" wrap="square" lIns="95112" tIns="93260" rIns="95112" bIns="93260" numCol="1" rtlCol="0" anchor="t" anchorCtr="0" compatLnSpc="1">
            <a:prstTxWarp prst="textNoShape">
              <a:avLst/>
            </a:prstTxWarp>
          </a:bodyPr>
          <a:lstStyle/>
          <a:p>
            <a:pPr defTabSz="950843" fontAlgn="base">
              <a:lnSpc>
                <a:spcPct val="90000"/>
              </a:lnSpc>
              <a:spcBef>
                <a:spcPct val="0"/>
              </a:spcBef>
              <a:spcAft>
                <a:spcPct val="0"/>
              </a:spcAft>
            </a:pPr>
            <a:r>
              <a:rPr lang="en-US" sz="1020" kern="0" dirty="0">
                <a:solidFill>
                  <a:srgbClr val="FFFFFF"/>
                </a:solidFill>
                <a:ea typeface="Segoe UI" pitchFamily="34" charset="0"/>
                <a:cs typeface="Segoe UI" pitchFamily="34" charset="0"/>
              </a:rPr>
              <a:t>Visualize</a:t>
            </a:r>
          </a:p>
        </p:txBody>
      </p:sp>
      <p:sp>
        <p:nvSpPr>
          <p:cNvPr id="38" name="Freeform 37"/>
          <p:cNvSpPr/>
          <p:nvPr>
            <p:custDataLst>
              <p:tags r:id="rId1"/>
            </p:custDataLst>
          </p:nvPr>
        </p:nvSpPr>
        <p:spPr>
          <a:xfrm>
            <a:off x="9357622" y="6262296"/>
            <a:ext cx="450980" cy="437796"/>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tx1"/>
          </a:solidFill>
          <a:ln w="19050" cap="flat" cmpd="sng" algn="ctr">
            <a:noFill/>
            <a:prstDash val="solid"/>
          </a:ln>
          <a:effectLst/>
        </p:spPr>
        <p:txBody>
          <a:bodyPr rtlCol="0" anchor="ctr"/>
          <a:lstStyle/>
          <a:p>
            <a:pPr algn="ctr" defTabSz="932597">
              <a:defRPr/>
            </a:pPr>
            <a:endParaRPr lang="en-US" sz="1836" kern="0">
              <a:solidFill>
                <a:sysClr val="window" lastClr="FFFFFF"/>
              </a:solidFill>
              <a:latin typeface="Arial"/>
            </a:endParaRPr>
          </a:p>
        </p:txBody>
      </p:sp>
      <p:sp>
        <p:nvSpPr>
          <p:cNvPr id="39" name="Rectangle 38"/>
          <p:cNvSpPr/>
          <p:nvPr/>
        </p:nvSpPr>
        <p:spPr bwMode="auto">
          <a:xfrm>
            <a:off x="9160774" y="4236104"/>
            <a:ext cx="870736" cy="830028"/>
          </a:xfrm>
          <a:prstGeom prst="rect">
            <a:avLst/>
          </a:prstGeom>
          <a:solidFill>
            <a:schemeClr val="accent2"/>
          </a:solidFill>
          <a:ln w="38100" cap="flat" cmpd="sng" algn="ctr">
            <a:noFill/>
            <a:prstDash val="solid"/>
            <a:headEnd type="none" w="med" len="med"/>
            <a:tailEnd type="none" w="med" len="med"/>
          </a:ln>
          <a:effectLst/>
        </p:spPr>
        <p:txBody>
          <a:bodyPr vert="horz" wrap="square" lIns="95112" tIns="93260" rIns="95112" bIns="93260" numCol="1" rtlCol="0" anchor="t" anchorCtr="0" compatLnSpc="1">
            <a:prstTxWarp prst="textNoShape">
              <a:avLst/>
            </a:prstTxWarp>
          </a:bodyPr>
          <a:lstStyle/>
          <a:p>
            <a:pPr defTabSz="950843" fontAlgn="base">
              <a:lnSpc>
                <a:spcPct val="90000"/>
              </a:lnSpc>
              <a:spcBef>
                <a:spcPct val="0"/>
              </a:spcBef>
              <a:spcAft>
                <a:spcPct val="0"/>
              </a:spcAft>
              <a:defRPr/>
            </a:pPr>
            <a:r>
              <a:rPr lang="en-US" sz="1020" kern="0" dirty="0">
                <a:solidFill>
                  <a:srgbClr val="FFFFFF"/>
                </a:solidFill>
                <a:ea typeface="Segoe UI" pitchFamily="34" charset="0"/>
                <a:cs typeface="Segoe UI" pitchFamily="34" charset="0"/>
              </a:rPr>
              <a:t>Discover</a:t>
            </a:r>
          </a:p>
        </p:txBody>
      </p:sp>
      <p:sp>
        <p:nvSpPr>
          <p:cNvPr id="40" name="Freeform 8"/>
          <p:cNvSpPr>
            <a:spLocks noEditPoints="1"/>
          </p:cNvSpPr>
          <p:nvPr/>
        </p:nvSpPr>
        <p:spPr bwMode="black">
          <a:xfrm>
            <a:off x="9355360" y="4525279"/>
            <a:ext cx="465027" cy="44905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97"/>
            <a:endParaRPr lang="en-US" sz="1020">
              <a:solidFill>
                <a:srgbClr val="505050"/>
              </a:solidFill>
            </a:endParaRPr>
          </a:p>
        </p:txBody>
      </p:sp>
      <p:pic>
        <p:nvPicPr>
          <p:cNvPr id="41" name="Picture 40"/>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6365580" y="814511"/>
            <a:ext cx="2783792" cy="1727651"/>
          </a:xfrm>
          <a:prstGeom prst="rect">
            <a:avLst/>
          </a:prstGeom>
        </p:spPr>
      </p:pic>
      <p:sp>
        <p:nvSpPr>
          <p:cNvPr id="42" name="Rectangle 41"/>
          <p:cNvSpPr/>
          <p:nvPr/>
        </p:nvSpPr>
        <p:spPr bwMode="auto">
          <a:xfrm>
            <a:off x="6365580" y="814511"/>
            <a:ext cx="2786028" cy="599877"/>
          </a:xfrm>
          <a:prstGeom prst="rect">
            <a:avLst/>
          </a:prstGeom>
          <a:solidFill>
            <a:srgbClr val="FF8C00"/>
          </a:solidFill>
          <a:ln w="38100" cap="flat" cmpd="sng" algn="ctr">
            <a:noFill/>
            <a:prstDash val="solid"/>
            <a:headEnd type="none" w="med" len="med"/>
            <a:tailEnd type="none" w="med" len="med"/>
          </a:ln>
          <a:effectLst/>
        </p:spPr>
        <p:txBody>
          <a:bodyPr vert="horz" wrap="square" lIns="93260" tIns="93260" rIns="93260" bIns="93260" numCol="1" rtlCol="0" anchor="t" anchorCtr="0" compatLnSpc="1">
            <a:prstTxWarp prst="textNoShape">
              <a:avLst/>
            </a:prstTxWarp>
          </a:bodyPr>
          <a:lstStyle/>
          <a:p>
            <a:pPr defTabSz="950843" fontAlgn="base">
              <a:lnSpc>
                <a:spcPct val="90000"/>
              </a:lnSpc>
              <a:spcBef>
                <a:spcPct val="0"/>
              </a:spcBef>
              <a:spcAft>
                <a:spcPct val="0"/>
              </a:spcAft>
              <a:defRPr/>
            </a:pPr>
            <a:r>
              <a:rPr lang="en-US" sz="1224" kern="0" spc="-42" dirty="0">
                <a:gradFill>
                  <a:gsLst>
                    <a:gs pos="0">
                      <a:srgbClr val="FFFFFF"/>
                    </a:gs>
                    <a:gs pos="100000">
                      <a:srgbClr val="FFFFFF"/>
                    </a:gs>
                  </a:gsLst>
                  <a:lin ang="5400000" scaled="0"/>
                </a:gradFill>
                <a:latin typeface="Segoe UI Light" pitchFamily="34" charset="0"/>
              </a:rPr>
              <a:t>Collaborate in Office 365</a:t>
            </a:r>
            <a:br>
              <a:rPr lang="en-US" sz="1224" kern="0" spc="-42" dirty="0">
                <a:gradFill>
                  <a:gsLst>
                    <a:gs pos="0">
                      <a:srgbClr val="FFFFFF"/>
                    </a:gs>
                    <a:gs pos="100000">
                      <a:srgbClr val="FFFFFF"/>
                    </a:gs>
                  </a:gsLst>
                  <a:lin ang="5400000" scaled="0"/>
                </a:gradFill>
                <a:latin typeface="Segoe UI Light" pitchFamily="34" charset="0"/>
              </a:rPr>
            </a:br>
            <a:r>
              <a:rPr lang="en-US" sz="1224" i="1" dirty="0">
                <a:solidFill>
                  <a:srgbClr val="FFFFFF"/>
                </a:solidFill>
              </a:rPr>
              <a:t>1 in 4 enterprise customers on Office 365</a:t>
            </a:r>
          </a:p>
          <a:p>
            <a:pPr defTabSz="950843" fontAlgn="base">
              <a:lnSpc>
                <a:spcPct val="90000"/>
              </a:lnSpc>
              <a:spcBef>
                <a:spcPct val="0"/>
              </a:spcBef>
              <a:spcAft>
                <a:spcPct val="0"/>
              </a:spcAft>
              <a:defRPr/>
            </a:pPr>
            <a:endParaRPr lang="en-US" sz="3162" kern="0" spc="-42" dirty="0">
              <a:gradFill>
                <a:gsLst>
                  <a:gs pos="0">
                    <a:srgbClr val="FFFFFF"/>
                  </a:gs>
                  <a:gs pos="100000">
                    <a:srgbClr val="FFFFFF"/>
                  </a:gs>
                </a:gsLst>
                <a:lin ang="5400000" scaled="0"/>
              </a:gradFill>
              <a:latin typeface="Segoe UI Light" pitchFamily="34" charset="0"/>
            </a:endParaRPr>
          </a:p>
        </p:txBody>
      </p:sp>
      <p:sp>
        <p:nvSpPr>
          <p:cNvPr id="43" name="Rectangle 42"/>
          <p:cNvSpPr/>
          <p:nvPr/>
        </p:nvSpPr>
        <p:spPr bwMode="auto">
          <a:xfrm>
            <a:off x="9182830" y="817964"/>
            <a:ext cx="874072" cy="854373"/>
          </a:xfrm>
          <a:prstGeom prst="rect">
            <a:avLst/>
          </a:prstGeom>
          <a:solidFill>
            <a:srgbClr val="FF8C00"/>
          </a:solidFill>
          <a:ln w="38100" cap="flat" cmpd="sng" algn="ctr">
            <a:noFill/>
            <a:prstDash val="solid"/>
            <a:headEnd type="none" w="med" len="med"/>
            <a:tailEnd type="none" w="med" len="med"/>
          </a:ln>
          <a:effectLst/>
        </p:spPr>
        <p:txBody>
          <a:bodyPr vert="horz" wrap="square" lIns="95112" tIns="93260" rIns="95112" bIns="93260" numCol="1" rtlCol="0" anchor="t" anchorCtr="0" compatLnSpc="1">
            <a:prstTxWarp prst="textNoShape">
              <a:avLst/>
            </a:prstTxWarp>
          </a:bodyPr>
          <a:lstStyle/>
          <a:p>
            <a:pPr defTabSz="950843" fontAlgn="base">
              <a:lnSpc>
                <a:spcPct val="90000"/>
              </a:lnSpc>
              <a:spcBef>
                <a:spcPct val="0"/>
              </a:spcBef>
              <a:spcAft>
                <a:spcPct val="0"/>
              </a:spcAft>
            </a:pPr>
            <a:r>
              <a:rPr lang="en-US" sz="1020" kern="0" dirty="0">
                <a:solidFill>
                  <a:srgbClr val="FFFFFF"/>
                </a:solidFill>
                <a:ea typeface="Segoe UI" pitchFamily="34" charset="0"/>
                <a:cs typeface="Segoe UI" pitchFamily="34" charset="0"/>
              </a:rPr>
              <a:t>Share</a:t>
            </a:r>
          </a:p>
        </p:txBody>
      </p:sp>
      <p:sp>
        <p:nvSpPr>
          <p:cNvPr id="44" name="Freeform 43"/>
          <p:cNvSpPr>
            <a:spLocks/>
          </p:cNvSpPr>
          <p:nvPr/>
        </p:nvSpPr>
        <p:spPr bwMode="auto">
          <a:xfrm>
            <a:off x="9295369" y="1171800"/>
            <a:ext cx="539874" cy="367993"/>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ln>
                <a:solidFill>
                  <a:srgbClr val="505050">
                    <a:alpha val="0"/>
                  </a:srgbClr>
                </a:solidFill>
              </a:ln>
              <a:solidFill>
                <a:srgbClr val="505050"/>
              </a:solidFill>
            </a:endParaRPr>
          </a:p>
        </p:txBody>
      </p:sp>
      <p:sp>
        <p:nvSpPr>
          <p:cNvPr id="45" name="Rectangle 44"/>
          <p:cNvSpPr/>
          <p:nvPr/>
        </p:nvSpPr>
        <p:spPr bwMode="auto">
          <a:xfrm>
            <a:off x="9182830" y="1702190"/>
            <a:ext cx="874072" cy="854373"/>
          </a:xfrm>
          <a:prstGeom prst="rect">
            <a:avLst/>
          </a:prstGeom>
          <a:solidFill>
            <a:srgbClr val="FF8C00"/>
          </a:solidFill>
          <a:ln w="38100" cap="flat" cmpd="sng" algn="ctr">
            <a:noFill/>
            <a:prstDash val="solid"/>
            <a:headEnd type="none" w="med" len="med"/>
            <a:tailEnd type="none" w="med" len="med"/>
          </a:ln>
          <a:effectLst/>
        </p:spPr>
        <p:txBody>
          <a:bodyPr vert="horz" wrap="square" lIns="95112" tIns="93260" rIns="95112" bIns="93260" numCol="1" rtlCol="0" anchor="t" anchorCtr="0" compatLnSpc="1">
            <a:prstTxWarp prst="textNoShape">
              <a:avLst/>
            </a:prstTxWarp>
          </a:bodyPr>
          <a:lstStyle/>
          <a:p>
            <a:pPr defTabSz="950843" fontAlgn="base">
              <a:lnSpc>
                <a:spcPct val="90000"/>
              </a:lnSpc>
              <a:spcBef>
                <a:spcPct val="0"/>
              </a:spcBef>
              <a:spcAft>
                <a:spcPct val="0"/>
              </a:spcAft>
            </a:pPr>
            <a:r>
              <a:rPr lang="en-US" sz="1020" kern="0" dirty="0">
                <a:solidFill>
                  <a:srgbClr val="FFFFFF"/>
                </a:solidFill>
                <a:ea typeface="Segoe UI" pitchFamily="34" charset="0"/>
                <a:cs typeface="Segoe UI" pitchFamily="34" charset="0"/>
              </a:rPr>
              <a:t>Find</a:t>
            </a:r>
          </a:p>
        </p:txBody>
      </p:sp>
      <p:grpSp>
        <p:nvGrpSpPr>
          <p:cNvPr id="46" name="Group 45"/>
          <p:cNvGrpSpPr/>
          <p:nvPr/>
        </p:nvGrpSpPr>
        <p:grpSpPr>
          <a:xfrm>
            <a:off x="9298595" y="2018966"/>
            <a:ext cx="513910" cy="432879"/>
            <a:chOff x="8783963" y="4448677"/>
            <a:chExt cx="735026" cy="633406"/>
          </a:xfrm>
        </p:grpSpPr>
        <p:grpSp>
          <p:nvGrpSpPr>
            <p:cNvPr id="47" name="Group 46"/>
            <p:cNvGrpSpPr/>
            <p:nvPr/>
          </p:nvGrpSpPr>
          <p:grpSpPr bwMode="black">
            <a:xfrm>
              <a:off x="8783963" y="4448677"/>
              <a:ext cx="735022" cy="633406"/>
              <a:chOff x="5574622" y="922419"/>
              <a:chExt cx="576936" cy="497307"/>
            </a:xfrm>
          </p:grpSpPr>
          <p:sp>
            <p:nvSpPr>
              <p:cNvPr id="49" name="Rectangle 48"/>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1836" spc="-124" dirty="0">
                  <a:solidFill>
                    <a:srgbClr val="505050">
                      <a:lumMod val="50000"/>
                    </a:srgbClr>
                  </a:solidFill>
                  <a:latin typeface="Segoe Light" pitchFamily="34" charset="0"/>
                </a:endParaRPr>
              </a:p>
            </p:txBody>
          </p:sp>
          <p:sp>
            <p:nvSpPr>
              <p:cNvPr id="50" name="Isosceles Triangle 49"/>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1836" spc="-124" dirty="0">
                  <a:solidFill>
                    <a:srgbClr val="505050">
                      <a:lumMod val="50000"/>
                    </a:srgbClr>
                  </a:solidFill>
                  <a:latin typeface="Segoe Light" pitchFamily="34" charset="0"/>
                </a:endParaRPr>
              </a:p>
            </p:txBody>
          </p:sp>
        </p:grpSp>
        <p:sp>
          <p:nvSpPr>
            <p:cNvPr id="48" name="TextBox 47"/>
            <p:cNvSpPr txBox="1"/>
            <p:nvPr/>
          </p:nvSpPr>
          <p:spPr bwMode="black">
            <a:xfrm>
              <a:off x="8897554" y="4538634"/>
              <a:ext cx="621435" cy="229679"/>
            </a:xfrm>
            <a:prstGeom prst="rect">
              <a:avLst/>
            </a:prstGeom>
            <a:noFill/>
          </p:spPr>
          <p:txBody>
            <a:bodyPr wrap="square" lIns="0" tIns="0" rIns="0" bIns="0" rtlCol="0">
              <a:spAutoFit/>
            </a:bodyPr>
            <a:lstStyle/>
            <a:p>
              <a:pPr defTabSz="932597"/>
              <a:r>
                <a:rPr lang="en-US" sz="1020" b="1" dirty="0">
                  <a:solidFill>
                    <a:srgbClr val="FF8C00"/>
                  </a:solidFill>
                </a:rPr>
                <a:t>Q</a:t>
              </a:r>
              <a:r>
                <a:rPr lang="en-US" sz="1020" dirty="0">
                  <a:solidFill>
                    <a:srgbClr val="FF8C00"/>
                  </a:solidFill>
                </a:rPr>
                <a:t>&amp;</a:t>
              </a:r>
              <a:r>
                <a:rPr lang="en-US" sz="1020" b="1" dirty="0">
                  <a:solidFill>
                    <a:srgbClr val="FF8C00"/>
                  </a:solidFill>
                </a:rPr>
                <a:t>A</a:t>
              </a:r>
              <a:endParaRPr lang="en-US" sz="1020" spc="-138" dirty="0">
                <a:solidFill>
                  <a:srgbClr val="FF8C00"/>
                </a:solidFill>
                <a:latin typeface="Arial Black" pitchFamily="34" charset="0"/>
                <a:cs typeface="Arial" pitchFamily="34" charset="0"/>
              </a:endParaRPr>
            </a:p>
          </p:txBody>
        </p:sp>
      </p:grpSp>
      <p:sp>
        <p:nvSpPr>
          <p:cNvPr id="51" name="Rectangle 50"/>
          <p:cNvSpPr/>
          <p:nvPr/>
        </p:nvSpPr>
        <p:spPr bwMode="auto">
          <a:xfrm>
            <a:off x="9182830" y="2594246"/>
            <a:ext cx="874072" cy="854373"/>
          </a:xfrm>
          <a:prstGeom prst="rect">
            <a:avLst/>
          </a:prstGeom>
          <a:solidFill>
            <a:srgbClr val="FF8C00"/>
          </a:solidFill>
          <a:ln w="38100" cap="flat" cmpd="sng" algn="ctr">
            <a:noFill/>
            <a:prstDash val="solid"/>
            <a:headEnd type="none" w="med" len="med"/>
            <a:tailEnd type="none" w="med" len="med"/>
          </a:ln>
          <a:effectLst/>
        </p:spPr>
        <p:txBody>
          <a:bodyPr vert="horz" wrap="square" lIns="95112" tIns="93260" rIns="95112" bIns="93260" numCol="1" rtlCol="0" anchor="t" anchorCtr="0" compatLnSpc="1">
            <a:prstTxWarp prst="textNoShape">
              <a:avLst/>
            </a:prstTxWarp>
          </a:bodyPr>
          <a:lstStyle/>
          <a:p>
            <a:pPr defTabSz="950843" fontAlgn="base">
              <a:lnSpc>
                <a:spcPct val="90000"/>
              </a:lnSpc>
              <a:spcBef>
                <a:spcPct val="0"/>
              </a:spcBef>
              <a:spcAft>
                <a:spcPct val="0"/>
              </a:spcAft>
            </a:pPr>
            <a:r>
              <a:rPr lang="en-US" sz="1020" kern="0" dirty="0">
                <a:solidFill>
                  <a:srgbClr val="FFFFFF"/>
                </a:solidFill>
                <a:ea typeface="Segoe UI" pitchFamily="34" charset="0"/>
                <a:cs typeface="Segoe UI" pitchFamily="34" charset="0"/>
              </a:rPr>
              <a:t>Mobile</a:t>
            </a:r>
          </a:p>
        </p:txBody>
      </p:sp>
      <p:grpSp>
        <p:nvGrpSpPr>
          <p:cNvPr id="52" name="Group 51"/>
          <p:cNvGrpSpPr/>
          <p:nvPr/>
        </p:nvGrpSpPr>
        <p:grpSpPr>
          <a:xfrm>
            <a:off x="9310241" y="2940962"/>
            <a:ext cx="464488" cy="447931"/>
            <a:chOff x="10280016" y="4544833"/>
            <a:chExt cx="728879" cy="719102"/>
          </a:xfrm>
        </p:grpSpPr>
        <p:grpSp>
          <p:nvGrpSpPr>
            <p:cNvPr id="53" name="Group 52"/>
            <p:cNvGrpSpPr/>
            <p:nvPr/>
          </p:nvGrpSpPr>
          <p:grpSpPr bwMode="black">
            <a:xfrm>
              <a:off x="10280016" y="4544833"/>
              <a:ext cx="728879" cy="719102"/>
              <a:chOff x="2916435" y="3914152"/>
              <a:chExt cx="930763" cy="918513"/>
            </a:xfrm>
          </p:grpSpPr>
          <p:pic>
            <p:nvPicPr>
              <p:cNvPr id="55" name="Picture 54"/>
              <p:cNvPicPr>
                <a:picLocks noChangeAspect="1"/>
              </p:cNvPicPr>
              <p:nvPr/>
            </p:nvPicPr>
            <p:blipFill>
              <a:blip r:embed="rId19" cstate="screen">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6"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3260" tIns="46630" rIns="93260" bIns="46630" numCol="1" anchor="t" anchorCtr="0" compatLnSpc="1">
                <a:prstTxWarp prst="textNoShape">
                  <a:avLst/>
                </a:prstTxWarp>
              </a:bodyPr>
              <a:lstStyle/>
              <a:p>
                <a:pPr defTabSz="932597"/>
                <a:endParaRPr lang="en-US" sz="918" dirty="0">
                  <a:solidFill>
                    <a:srgbClr val="FFFFFF"/>
                  </a:solidFill>
                </a:endParaRPr>
              </a:p>
            </p:txBody>
          </p:sp>
        </p:grpSp>
        <p:sp>
          <p:nvSpPr>
            <p:cNvPr id="54" name="Freeform 53"/>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tx1"/>
            </a:solidFill>
            <a:ln w="19050" cap="flat" cmpd="sng" algn="ctr">
              <a:noFill/>
              <a:prstDash val="solid"/>
            </a:ln>
            <a:effectLst/>
          </p:spPr>
          <p:txBody>
            <a:bodyPr rtlCol="0" anchor="ctr"/>
            <a:lstStyle/>
            <a:p>
              <a:pPr algn="ctr" defTabSz="932597">
                <a:defRPr/>
              </a:pPr>
              <a:endParaRPr lang="en-US" sz="1836" kern="0">
                <a:solidFill>
                  <a:sysClr val="window" lastClr="FFFFFF"/>
                </a:solidFill>
                <a:latin typeface="Arial"/>
              </a:endParaRPr>
            </a:p>
          </p:txBody>
        </p:sp>
      </p:grpSp>
      <p:sp>
        <p:nvSpPr>
          <p:cNvPr id="57" name="Down Arrow 56"/>
          <p:cNvSpPr/>
          <p:nvPr/>
        </p:nvSpPr>
        <p:spPr bwMode="auto">
          <a:xfrm rot="18856761">
            <a:off x="10159585" y="2965753"/>
            <a:ext cx="564932" cy="598965"/>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AU" sz="2040" dirty="0">
              <a:gradFill>
                <a:gsLst>
                  <a:gs pos="0">
                    <a:srgbClr val="FFFFFF"/>
                  </a:gs>
                  <a:gs pos="100000">
                    <a:srgbClr val="FFFFFF"/>
                  </a:gs>
                </a:gsLst>
                <a:lin ang="5400000" scaled="0"/>
              </a:gradFill>
            </a:endParaRPr>
          </a:p>
        </p:txBody>
      </p:sp>
      <p:sp>
        <p:nvSpPr>
          <p:cNvPr id="58" name="Right Arrow 57"/>
          <p:cNvSpPr/>
          <p:nvPr/>
        </p:nvSpPr>
        <p:spPr bwMode="auto">
          <a:xfrm rot="18827140">
            <a:off x="10151421" y="4653265"/>
            <a:ext cx="621736" cy="549117"/>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AU" sz="2040" dirty="0">
              <a:gradFill>
                <a:gsLst>
                  <a:gs pos="0">
                    <a:srgbClr val="FFFFFF"/>
                  </a:gs>
                  <a:gs pos="100000">
                    <a:srgbClr val="FFFFFF"/>
                  </a:gs>
                </a:gsLst>
                <a:lin ang="5400000" scaled="0"/>
              </a:gradFill>
            </a:endParaRPr>
          </a:p>
        </p:txBody>
      </p:sp>
      <p:sp>
        <p:nvSpPr>
          <p:cNvPr id="59" name="Oval 88"/>
          <p:cNvSpPr/>
          <p:nvPr/>
        </p:nvSpPr>
        <p:spPr>
          <a:xfrm>
            <a:off x="1622564" y="4344053"/>
            <a:ext cx="902499" cy="348571"/>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78"/>
            <a:endParaRPr lang="en-US" sz="1873">
              <a:gradFill>
                <a:gsLst>
                  <a:gs pos="0">
                    <a:srgbClr val="00BCF2">
                      <a:lumMod val="5000"/>
                      <a:lumOff val="95000"/>
                    </a:srgbClr>
                  </a:gs>
                  <a:gs pos="100000">
                    <a:srgbClr val="000000"/>
                  </a:gs>
                </a:gsLst>
                <a:lin ang="5400000" scaled="1"/>
              </a:gradFill>
            </a:endParaRPr>
          </a:p>
        </p:txBody>
      </p:sp>
      <p:sp>
        <p:nvSpPr>
          <p:cNvPr id="62" name="Oval 88"/>
          <p:cNvSpPr/>
          <p:nvPr/>
        </p:nvSpPr>
        <p:spPr>
          <a:xfrm>
            <a:off x="1622564" y="4901495"/>
            <a:ext cx="902499" cy="348571"/>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78"/>
            <a:endParaRPr lang="en-US" sz="1873">
              <a:gradFill>
                <a:gsLst>
                  <a:gs pos="0">
                    <a:srgbClr val="00BCF2">
                      <a:lumMod val="5000"/>
                      <a:lumOff val="95000"/>
                    </a:srgbClr>
                  </a:gs>
                  <a:gs pos="100000">
                    <a:srgbClr val="000000"/>
                  </a:gs>
                </a:gsLst>
                <a:lin ang="5400000" scaled="1"/>
              </a:gradFill>
            </a:endParaRPr>
          </a:p>
        </p:txBody>
      </p:sp>
      <p:sp>
        <p:nvSpPr>
          <p:cNvPr id="63" name="Oval 88"/>
          <p:cNvSpPr/>
          <p:nvPr/>
        </p:nvSpPr>
        <p:spPr>
          <a:xfrm>
            <a:off x="1622564" y="5509807"/>
            <a:ext cx="902499" cy="348571"/>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78"/>
            <a:endParaRPr lang="en-US" sz="1873">
              <a:gradFill>
                <a:gsLst>
                  <a:gs pos="0">
                    <a:srgbClr val="00BCF2">
                      <a:lumMod val="5000"/>
                      <a:lumOff val="95000"/>
                    </a:srgbClr>
                  </a:gs>
                  <a:gs pos="100000">
                    <a:srgbClr val="000000"/>
                  </a:gs>
                </a:gsLst>
                <a:lin ang="5400000" scaled="1"/>
              </a:gradFill>
            </a:endParaRPr>
          </a:p>
        </p:txBody>
      </p:sp>
      <p:sp>
        <p:nvSpPr>
          <p:cNvPr id="64" name="TextBox 63"/>
          <p:cNvSpPr txBox="1"/>
          <p:nvPr/>
        </p:nvSpPr>
        <p:spPr>
          <a:xfrm>
            <a:off x="1660701" y="5579535"/>
            <a:ext cx="821086" cy="265576"/>
          </a:xfrm>
          <a:prstGeom prst="rect">
            <a:avLst/>
          </a:prstGeom>
          <a:noFill/>
        </p:spPr>
        <p:txBody>
          <a:bodyPr wrap="square" rtlCol="0">
            <a:spAutoFit/>
          </a:bodyPr>
          <a:lstStyle/>
          <a:p>
            <a:pPr algn="ctr" defTabSz="932597"/>
            <a:r>
              <a:rPr lang="en-US" sz="1092" dirty="0">
                <a:solidFill>
                  <a:prstClr val="white"/>
                </a:solidFill>
              </a:rPr>
              <a:t>Source 3</a:t>
            </a:r>
          </a:p>
        </p:txBody>
      </p:sp>
      <p:sp>
        <p:nvSpPr>
          <p:cNvPr id="65" name="Oval 88"/>
          <p:cNvSpPr/>
          <p:nvPr/>
        </p:nvSpPr>
        <p:spPr>
          <a:xfrm>
            <a:off x="1622564" y="6067250"/>
            <a:ext cx="902499" cy="348571"/>
          </a:xfrm>
          <a:custGeom>
            <a:avLst/>
            <a:gdLst/>
            <a:ahLst/>
            <a:cxnLst/>
            <a:rect l="l" t="t" r="r" b="b"/>
            <a:pathLst>
              <a:path w="1255211" h="1656051">
                <a:moveTo>
                  <a:pt x="638840" y="98404"/>
                </a:moveTo>
                <a:cubicBezTo>
                  <a:pt x="356498" y="98404"/>
                  <a:pt x="127615" y="169347"/>
                  <a:pt x="127615" y="256860"/>
                </a:cubicBezTo>
                <a:cubicBezTo>
                  <a:pt x="127615" y="344373"/>
                  <a:pt x="356498" y="415316"/>
                  <a:pt x="638840" y="415316"/>
                </a:cubicBezTo>
                <a:cubicBezTo>
                  <a:pt x="921182" y="415316"/>
                  <a:pt x="1150065" y="344373"/>
                  <a:pt x="1150065" y="256860"/>
                </a:cubicBezTo>
                <a:cubicBezTo>
                  <a:pt x="1150065" y="169347"/>
                  <a:pt x="921182" y="98404"/>
                  <a:pt x="638840" y="98404"/>
                </a:cubicBezTo>
                <a:close/>
                <a:moveTo>
                  <a:pt x="627606" y="7"/>
                </a:moveTo>
                <a:cubicBezTo>
                  <a:pt x="834366" y="-787"/>
                  <a:pt x="1214415" y="70042"/>
                  <a:pt x="1247888" y="228376"/>
                </a:cubicBezTo>
                <a:lnTo>
                  <a:pt x="1255211" y="223614"/>
                </a:lnTo>
                <a:lnTo>
                  <a:pt x="1255211" y="317516"/>
                </a:lnTo>
                <a:lnTo>
                  <a:pt x="1255211" y="1338542"/>
                </a:lnTo>
                <a:lnTo>
                  <a:pt x="1255211" y="1404562"/>
                </a:lnTo>
                <a:lnTo>
                  <a:pt x="1241216" y="1404562"/>
                </a:lnTo>
                <a:cubicBezTo>
                  <a:pt x="1181427" y="1548293"/>
                  <a:pt x="929392" y="1656051"/>
                  <a:pt x="627606" y="1656051"/>
                </a:cubicBezTo>
                <a:cubicBezTo>
                  <a:pt x="325821" y="1656051"/>
                  <a:pt x="73786" y="1548293"/>
                  <a:pt x="13998" y="1404562"/>
                </a:cubicBezTo>
                <a:lnTo>
                  <a:pt x="0" y="1404562"/>
                </a:lnTo>
                <a:lnTo>
                  <a:pt x="0" y="1338542"/>
                </a:lnTo>
                <a:lnTo>
                  <a:pt x="0" y="317516"/>
                </a:lnTo>
                <a:lnTo>
                  <a:pt x="0" y="280764"/>
                </a:lnTo>
                <a:cubicBezTo>
                  <a:pt x="2442" y="280764"/>
                  <a:pt x="4882" y="233138"/>
                  <a:pt x="7323" y="233138"/>
                </a:cubicBezTo>
                <a:cubicBezTo>
                  <a:pt x="40799" y="74804"/>
                  <a:pt x="420845" y="801"/>
                  <a:pt x="627606" y="7"/>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78"/>
            <a:endParaRPr lang="en-US" sz="1873">
              <a:gradFill>
                <a:gsLst>
                  <a:gs pos="0">
                    <a:srgbClr val="00BCF2">
                      <a:lumMod val="5000"/>
                      <a:lumOff val="95000"/>
                    </a:srgbClr>
                  </a:gs>
                  <a:gs pos="100000">
                    <a:srgbClr val="000000"/>
                  </a:gs>
                </a:gsLst>
                <a:lin ang="5400000" scaled="1"/>
              </a:gradFill>
            </a:endParaRPr>
          </a:p>
        </p:txBody>
      </p:sp>
      <p:sp>
        <p:nvSpPr>
          <p:cNvPr id="66" name="TextBox 65"/>
          <p:cNvSpPr txBox="1"/>
          <p:nvPr/>
        </p:nvSpPr>
        <p:spPr>
          <a:xfrm>
            <a:off x="1607640" y="6118667"/>
            <a:ext cx="977075" cy="265576"/>
          </a:xfrm>
          <a:prstGeom prst="rect">
            <a:avLst/>
          </a:prstGeom>
          <a:solidFill>
            <a:schemeClr val="accent1">
              <a:lumMod val="50000"/>
            </a:schemeClr>
          </a:solidFill>
        </p:spPr>
        <p:txBody>
          <a:bodyPr wrap="square" rtlCol="0">
            <a:spAutoFit/>
          </a:bodyPr>
          <a:lstStyle/>
          <a:p>
            <a:pPr defTabSz="932597"/>
            <a:r>
              <a:rPr lang="en-US" sz="1092" dirty="0">
                <a:solidFill>
                  <a:prstClr val="white"/>
                </a:solidFill>
              </a:rPr>
              <a:t>Source 4</a:t>
            </a:r>
          </a:p>
        </p:txBody>
      </p:sp>
      <p:pic>
        <p:nvPicPr>
          <p:cNvPr id="67" name="Picture 66"/>
          <p:cNvPicPr>
            <a:picLocks noChangeAspect="1"/>
          </p:cNvPicPr>
          <p:nvPr/>
        </p:nvPicPr>
        <p:blipFill>
          <a:blip r:embed="rId16"/>
          <a:stretch>
            <a:fillRect/>
          </a:stretch>
        </p:blipFill>
        <p:spPr>
          <a:xfrm>
            <a:off x="1597289" y="6456967"/>
            <a:ext cx="377010" cy="385700"/>
          </a:xfrm>
          <a:prstGeom prst="rect">
            <a:avLst/>
          </a:prstGeom>
        </p:spPr>
      </p:pic>
      <p:sp>
        <p:nvSpPr>
          <p:cNvPr id="68" name="TextBox 67"/>
          <p:cNvSpPr txBox="1"/>
          <p:nvPr/>
        </p:nvSpPr>
        <p:spPr>
          <a:xfrm>
            <a:off x="1954667" y="6520181"/>
            <a:ext cx="1161380" cy="265576"/>
          </a:xfrm>
          <a:prstGeom prst="rect">
            <a:avLst/>
          </a:prstGeom>
          <a:noFill/>
        </p:spPr>
        <p:txBody>
          <a:bodyPr wrap="square" rtlCol="0">
            <a:spAutoFit/>
          </a:bodyPr>
          <a:lstStyle/>
          <a:p>
            <a:pPr defTabSz="932597"/>
            <a:r>
              <a:rPr lang="en-US" sz="1092" dirty="0"/>
              <a:t>Reference Data</a:t>
            </a:r>
          </a:p>
        </p:txBody>
      </p:sp>
      <p:sp>
        <p:nvSpPr>
          <p:cNvPr id="69" name="Right Arrow 68"/>
          <p:cNvSpPr/>
          <p:nvPr/>
        </p:nvSpPr>
        <p:spPr bwMode="auto">
          <a:xfrm>
            <a:off x="2923362" y="5354373"/>
            <a:ext cx="621736" cy="549117"/>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AU" sz="2040" dirty="0">
              <a:gradFill>
                <a:gsLst>
                  <a:gs pos="0">
                    <a:srgbClr val="FFFFFF"/>
                  </a:gs>
                  <a:gs pos="100000">
                    <a:srgbClr val="FFFFFF"/>
                  </a:gs>
                </a:gsLst>
                <a:lin ang="5400000" scaled="0"/>
              </a:gradFill>
            </a:endParaRPr>
          </a:p>
        </p:txBody>
      </p:sp>
      <p:cxnSp>
        <p:nvCxnSpPr>
          <p:cNvPr id="70" name="Straight Arrow Connector 69"/>
          <p:cNvCxnSpPr/>
          <p:nvPr/>
        </p:nvCxnSpPr>
        <p:spPr>
          <a:xfrm flipH="1" flipV="1">
            <a:off x="4520824" y="5716424"/>
            <a:ext cx="1844757" cy="43997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1" name="Picture 6" descr="https://encrypted-tbn0.gstatic.com/images?q=tbn:ANd9GcSwI5rZpCgpho8pqqdcd7UVu_VieETOKQgnpBA9lh5H7Vo-nk2mT4Ua8xbQ"/>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447227" y="2657632"/>
            <a:ext cx="2025589" cy="733123"/>
          </a:xfrm>
          <a:prstGeom prst="rect">
            <a:avLst/>
          </a:prstGeom>
          <a:noFill/>
          <a:extLst>
            <a:ext uri="{909E8E84-426E-40DD-AFC4-6F175D3DCCD1}">
              <a14:hiddenFill xmlns:a14="http://schemas.microsoft.com/office/drawing/2010/main">
                <a:solidFill>
                  <a:srgbClr val="FFFFFF"/>
                </a:solidFill>
              </a14:hiddenFill>
            </a:ext>
          </a:extLst>
        </p:spPr>
      </p:pic>
      <p:cxnSp>
        <p:nvCxnSpPr>
          <p:cNvPr id="72" name="Straight Arrow Connector 71"/>
          <p:cNvCxnSpPr/>
          <p:nvPr/>
        </p:nvCxnSpPr>
        <p:spPr>
          <a:xfrm>
            <a:off x="747287" y="930983"/>
            <a:ext cx="0" cy="2869051"/>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747288" y="3955468"/>
            <a:ext cx="9309614" cy="0"/>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736798" y="4057860"/>
            <a:ext cx="0" cy="2869051"/>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75" name="Title 1"/>
          <p:cNvSpPr txBox="1">
            <a:spLocks/>
          </p:cNvSpPr>
          <p:nvPr/>
        </p:nvSpPr>
        <p:spPr>
          <a:xfrm rot="16200000">
            <a:off x="-808172" y="2011424"/>
            <a:ext cx="2366736" cy="433315"/>
          </a:xfrm>
          <a:prstGeom prst="rect">
            <a:avLst/>
          </a:prstGeom>
        </p:spPr>
        <p:txBody>
          <a:bodyPr vert="horz" wrap="square" lIns="149217" tIns="93260" rIns="149217" bIns="9326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AU" sz="1836" dirty="0">
                <a:solidFill>
                  <a:schemeClr val="tx1"/>
                </a:solidFill>
              </a:rPr>
              <a:t>O365 Power BI </a:t>
            </a:r>
          </a:p>
        </p:txBody>
      </p:sp>
      <p:sp>
        <p:nvSpPr>
          <p:cNvPr id="76" name="Title 1"/>
          <p:cNvSpPr txBox="1">
            <a:spLocks/>
          </p:cNvSpPr>
          <p:nvPr/>
        </p:nvSpPr>
        <p:spPr>
          <a:xfrm rot="16200000">
            <a:off x="-1093868" y="5207875"/>
            <a:ext cx="2938127" cy="433315"/>
          </a:xfrm>
          <a:prstGeom prst="rect">
            <a:avLst/>
          </a:prstGeom>
        </p:spPr>
        <p:txBody>
          <a:bodyPr vert="horz" wrap="square" lIns="149217" tIns="93260" rIns="149217" bIns="9326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AU" sz="1836">
                <a:solidFill>
                  <a:schemeClr val="tx1"/>
                </a:solidFill>
              </a:rPr>
              <a:t>On-Premises</a:t>
            </a:r>
          </a:p>
        </p:txBody>
      </p:sp>
      <p:sp>
        <p:nvSpPr>
          <p:cNvPr id="60" name="TextBox 59"/>
          <p:cNvSpPr txBox="1"/>
          <p:nvPr/>
        </p:nvSpPr>
        <p:spPr>
          <a:xfrm>
            <a:off x="1733121" y="4381809"/>
            <a:ext cx="821086" cy="265576"/>
          </a:xfrm>
          <a:prstGeom prst="rect">
            <a:avLst/>
          </a:prstGeom>
          <a:noFill/>
        </p:spPr>
        <p:txBody>
          <a:bodyPr wrap="square" rtlCol="0">
            <a:spAutoFit/>
          </a:bodyPr>
          <a:lstStyle/>
          <a:p>
            <a:pPr defTabSz="932597"/>
            <a:r>
              <a:rPr lang="en-US" sz="1092" dirty="0">
                <a:solidFill>
                  <a:prstClr val="white"/>
                </a:solidFill>
              </a:rPr>
              <a:t>Source 1</a:t>
            </a:r>
          </a:p>
        </p:txBody>
      </p:sp>
      <p:sp>
        <p:nvSpPr>
          <p:cNvPr id="61" name="TextBox 60"/>
          <p:cNvSpPr txBox="1"/>
          <p:nvPr/>
        </p:nvSpPr>
        <p:spPr>
          <a:xfrm>
            <a:off x="1703977" y="4941440"/>
            <a:ext cx="821086" cy="265576"/>
          </a:xfrm>
          <a:prstGeom prst="rect">
            <a:avLst/>
          </a:prstGeom>
          <a:noFill/>
        </p:spPr>
        <p:txBody>
          <a:bodyPr wrap="square" rtlCol="0">
            <a:spAutoFit/>
          </a:bodyPr>
          <a:lstStyle/>
          <a:p>
            <a:pPr defTabSz="932597"/>
            <a:r>
              <a:rPr lang="en-US" sz="1092" dirty="0">
                <a:solidFill>
                  <a:prstClr val="white"/>
                </a:solidFill>
              </a:rPr>
              <a:t>Source 2</a:t>
            </a:r>
          </a:p>
        </p:txBody>
      </p:sp>
    </p:spTree>
    <p:extLst>
      <p:ext uri="{BB962C8B-B14F-4D97-AF65-F5344CB8AC3E}">
        <p14:creationId xmlns:p14="http://schemas.microsoft.com/office/powerpoint/2010/main" val="1718380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a:t>
            </a:r>
            <a:endParaRPr lang="en-US" dirty="0"/>
          </a:p>
        </p:txBody>
      </p:sp>
      <p:grpSp>
        <p:nvGrpSpPr>
          <p:cNvPr id="10" name="Group 9"/>
          <p:cNvGrpSpPr/>
          <p:nvPr/>
        </p:nvGrpSpPr>
        <p:grpSpPr>
          <a:xfrm>
            <a:off x="1001485" y="1238495"/>
            <a:ext cx="9946368" cy="5594832"/>
            <a:chOff x="1001485" y="1238495"/>
            <a:chExt cx="9946368" cy="5594832"/>
          </a:xfrm>
        </p:grpSpPr>
        <p:grpSp>
          <p:nvGrpSpPr>
            <p:cNvPr id="8" name="Group 7"/>
            <p:cNvGrpSpPr/>
            <p:nvPr/>
          </p:nvGrpSpPr>
          <p:grpSpPr>
            <a:xfrm>
              <a:off x="1001485" y="1238495"/>
              <a:ext cx="9946368" cy="5594832"/>
              <a:chOff x="1001485" y="1238495"/>
              <a:chExt cx="9946368" cy="5594832"/>
            </a:xfrm>
          </p:grpSpPr>
          <p:grpSp>
            <p:nvGrpSpPr>
              <p:cNvPr id="6" name="Group 5"/>
              <p:cNvGrpSpPr/>
              <p:nvPr/>
            </p:nvGrpSpPr>
            <p:grpSpPr>
              <a:xfrm>
                <a:off x="1001485" y="1238495"/>
                <a:ext cx="9946368" cy="5594832"/>
                <a:chOff x="1001485" y="1238495"/>
                <a:chExt cx="9946368" cy="5594832"/>
              </a:xfrm>
            </p:grpSpPr>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01485" y="1238495"/>
                  <a:ext cx="9946368" cy="5594832"/>
                </a:xfrm>
                <a:prstGeom prst="rect">
                  <a:avLst/>
                </a:prstGeom>
              </p:spPr>
            </p:pic>
            <p:sp>
              <p:nvSpPr>
                <p:cNvPr id="5" name="Rectangle 4"/>
                <p:cNvSpPr/>
                <p:nvPr/>
              </p:nvSpPr>
              <p:spPr>
                <a:xfrm>
                  <a:off x="1168400" y="2247900"/>
                  <a:ext cx="1435100" cy="190500"/>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Rectangle 6"/>
              <p:cNvSpPr/>
              <p:nvPr/>
            </p:nvSpPr>
            <p:spPr>
              <a:xfrm>
                <a:off x="1130300" y="1549400"/>
                <a:ext cx="1435100" cy="266700"/>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Rectangle 8"/>
            <p:cNvSpPr/>
            <p:nvPr/>
          </p:nvSpPr>
          <p:spPr>
            <a:xfrm>
              <a:off x="9550400" y="2501900"/>
              <a:ext cx="1206500" cy="177800"/>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3688936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ower BI Readiness</a:t>
            </a:r>
            <a:endParaRPr lang="en-AU" dirty="0"/>
          </a:p>
        </p:txBody>
      </p:sp>
      <p:sp>
        <p:nvSpPr>
          <p:cNvPr id="4" name="Text Placeholder 3"/>
          <p:cNvSpPr>
            <a:spLocks noGrp="1"/>
          </p:cNvSpPr>
          <p:nvPr>
            <p:ph type="body" sz="quarter" idx="4294967295"/>
          </p:nvPr>
        </p:nvSpPr>
        <p:spPr>
          <a:xfrm>
            <a:off x="549275" y="1589088"/>
            <a:ext cx="10325092" cy="4000500"/>
          </a:xfrm>
        </p:spPr>
        <p:txBody>
          <a:bodyPr/>
          <a:lstStyle/>
          <a:p>
            <a:r>
              <a:rPr lang="en-US" dirty="0" smtClean="0">
                <a:solidFill>
                  <a:schemeClr val="tx1"/>
                </a:solidFill>
              </a:rPr>
              <a:t>FREE </a:t>
            </a:r>
            <a:r>
              <a:rPr lang="en-US" dirty="0" smtClean="0">
                <a:solidFill>
                  <a:schemeClr val="tx1"/>
                </a:solidFill>
              </a:rPr>
              <a:t> </a:t>
            </a:r>
            <a:r>
              <a:rPr lang="en-US" dirty="0" smtClean="0">
                <a:solidFill>
                  <a:schemeClr val="tx1"/>
                </a:solidFill>
              </a:rPr>
              <a:t>training</a:t>
            </a:r>
          </a:p>
          <a:p>
            <a:r>
              <a:rPr lang="en-US" dirty="0" smtClean="0">
                <a:solidFill>
                  <a:schemeClr val="tx1"/>
                </a:solidFill>
              </a:rPr>
              <a:t>Learn how to leverage your existing investment in Excel to gain better insight</a:t>
            </a:r>
          </a:p>
          <a:p>
            <a:endParaRPr lang="en-AU" dirty="0" smtClean="0">
              <a:solidFill>
                <a:schemeClr val="tx1"/>
              </a:solidFill>
            </a:endParaRPr>
          </a:p>
          <a:p>
            <a:pPr marL="0" indent="0">
              <a:buNone/>
            </a:pPr>
            <a:r>
              <a:rPr lang="en-AU" dirty="0" smtClean="0">
                <a:solidFill>
                  <a:schemeClr val="tx1"/>
                </a:solidFill>
              </a:rPr>
              <a:t>Contact: </a:t>
            </a:r>
            <a:r>
              <a:rPr lang="en-AU" dirty="0" smtClean="0">
                <a:solidFill>
                  <a:schemeClr val="tx1"/>
                </a:solidFill>
              </a:rPr>
              <a:t>info@sipbharat.com </a:t>
            </a:r>
            <a:endParaRPr lang="en-AU" dirty="0" smtClean="0">
              <a:solidFill>
                <a:schemeClr val="tx1"/>
              </a:solidFill>
            </a:endParaRPr>
          </a:p>
          <a:p>
            <a:pPr marL="0" indent="0">
              <a:buNone/>
            </a:pPr>
            <a:r>
              <a:rPr lang="en-US" dirty="0">
                <a:solidFill>
                  <a:schemeClr val="tx1"/>
                </a:solidFill>
              </a:rPr>
              <a:t> </a:t>
            </a:r>
            <a:r>
              <a:rPr lang="en-US" dirty="0" smtClean="0">
                <a:solidFill>
                  <a:schemeClr val="tx1"/>
                </a:solidFill>
              </a:rPr>
              <a:t>             </a:t>
            </a:r>
            <a:endParaRPr lang="en-AU" dirty="0">
              <a:solidFill>
                <a:schemeClr val="tx1"/>
              </a:solidFill>
            </a:endParaRPr>
          </a:p>
        </p:txBody>
      </p:sp>
    </p:spTree>
    <p:extLst>
      <p:ext uri="{BB962C8B-B14F-4D97-AF65-F5344CB8AC3E}">
        <p14:creationId xmlns:p14="http://schemas.microsoft.com/office/powerpoint/2010/main" val="96946383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Thank </a:t>
            </a:r>
            <a:r>
              <a:rPr lang="en-AU" dirty="0" smtClean="0"/>
              <a:t>You</a:t>
            </a:r>
            <a:endParaRPr lang="en-AU" dirty="0"/>
          </a:p>
        </p:txBody>
      </p:sp>
    </p:spTree>
    <p:extLst>
      <p:ext uri="{BB962C8B-B14F-4D97-AF65-F5344CB8AC3E}">
        <p14:creationId xmlns:p14="http://schemas.microsoft.com/office/powerpoint/2010/main" val="347302234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0222" y="109519"/>
            <a:ext cx="12536065" cy="917575"/>
          </a:xfrm>
        </p:spPr>
        <p:txBody>
          <a:bodyPr/>
          <a:lstStyle/>
          <a:p>
            <a:r>
              <a:rPr lang="en-US" sz="4800" dirty="0" smtClean="0"/>
              <a:t>Microsoft’s approach delivers </a:t>
            </a:r>
            <a:r>
              <a:rPr lang="en-US" sz="4800" dirty="0" smtClean="0">
                <a:solidFill>
                  <a:srgbClr val="FCD116"/>
                </a:solidFill>
              </a:rPr>
              <a:t>data dividends</a:t>
            </a:r>
            <a:endParaRPr lang="en-US" sz="4800" dirty="0">
              <a:solidFill>
                <a:srgbClr val="FCD116"/>
              </a:solidFill>
            </a:endParaRPr>
          </a:p>
        </p:txBody>
      </p:sp>
      <p:sp>
        <p:nvSpPr>
          <p:cNvPr id="7" name="Text Placeholder 6"/>
          <p:cNvSpPr>
            <a:spLocks noGrp="1"/>
          </p:cNvSpPr>
          <p:nvPr>
            <p:ph type="body" sz="quarter" idx="4294967295"/>
          </p:nvPr>
        </p:nvSpPr>
        <p:spPr>
          <a:xfrm>
            <a:off x="222892" y="808510"/>
            <a:ext cx="11033125" cy="627842"/>
          </a:xfrm>
        </p:spPr>
        <p:txBody>
          <a:bodyPr/>
          <a:lstStyle/>
          <a:p>
            <a:pPr marL="0" indent="0">
              <a:buNone/>
            </a:pPr>
            <a:r>
              <a:rPr lang="en-US" sz="3200" dirty="0">
                <a:solidFill>
                  <a:schemeClr val="tx1"/>
                </a:solidFill>
              </a:rPr>
              <a:t>An end-to-end platform for any data and everyone </a:t>
            </a:r>
          </a:p>
        </p:txBody>
      </p:sp>
      <p:grpSp>
        <p:nvGrpSpPr>
          <p:cNvPr id="6" name="Group 5"/>
          <p:cNvGrpSpPr/>
          <p:nvPr/>
        </p:nvGrpSpPr>
        <p:grpSpPr>
          <a:xfrm>
            <a:off x="274528" y="2430615"/>
            <a:ext cx="2742811" cy="3657082"/>
            <a:chOff x="3475037" y="2125663"/>
            <a:chExt cx="2743201" cy="3657601"/>
          </a:xfrm>
        </p:grpSpPr>
        <p:sp>
          <p:nvSpPr>
            <p:cNvPr id="54" name="Rectangle 53"/>
            <p:cNvSpPr/>
            <p:nvPr/>
          </p:nvSpPr>
          <p:spPr bwMode="auto">
            <a:xfrm>
              <a:off x="3475037" y="2125663"/>
              <a:ext cx="2743200" cy="365760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r" defTabSz="932293" fontAlgn="base">
                <a:lnSpc>
                  <a:spcPct val="90000"/>
                </a:lnSpc>
                <a:spcBef>
                  <a:spcPct val="0"/>
                </a:spcBef>
                <a:spcAft>
                  <a:spcPct val="0"/>
                </a:spcAft>
                <a:defRPr/>
              </a:pPr>
              <a:r>
                <a:rPr lang="en-US" sz="2400" dirty="0">
                  <a:gradFill>
                    <a:gsLst>
                      <a:gs pos="2917">
                        <a:srgbClr val="FFFFFF"/>
                      </a:gs>
                      <a:gs pos="97000">
                        <a:srgbClr val="FFFFFF"/>
                      </a:gs>
                    </a:gsLst>
                    <a:lin ang="5400000" scaled="0"/>
                  </a:gradFill>
                  <a:latin typeface="Segoe UI Light"/>
                  <a:ea typeface="Segoe UI" pitchFamily="34" charset="0"/>
                  <a:cs typeface="Segoe UI" pitchFamily="34" charset="0"/>
                </a:rPr>
                <a:t>Business questions </a:t>
              </a:r>
            </a:p>
            <a:p>
              <a:pPr algn="r" defTabSz="932293" fontAlgn="base">
                <a:lnSpc>
                  <a:spcPct val="90000"/>
                </a:lnSpc>
                <a:spcBef>
                  <a:spcPct val="0"/>
                </a:spcBef>
                <a:spcAft>
                  <a:spcPct val="0"/>
                </a:spcAft>
                <a:defRPr/>
              </a:pPr>
              <a:r>
                <a:rPr lang="en-US" sz="2400" dirty="0">
                  <a:gradFill>
                    <a:gsLst>
                      <a:gs pos="2917">
                        <a:srgbClr val="FFFFFF"/>
                      </a:gs>
                      <a:gs pos="97000">
                        <a:srgbClr val="FFFFFF"/>
                      </a:gs>
                    </a:gsLst>
                    <a:lin ang="5400000" scaled="0"/>
                  </a:gradFill>
                  <a:latin typeface="Segoe UI Light"/>
                  <a:ea typeface="Segoe UI" pitchFamily="34" charset="0"/>
                  <a:cs typeface="Segoe UI" pitchFamily="34" charset="0"/>
                </a:rPr>
                <a:t>and problems</a:t>
              </a:r>
            </a:p>
          </p:txBody>
        </p:sp>
        <p:pic>
          <p:nvPicPr>
            <p:cNvPr id="3" name="Picture 2"/>
            <p:cNvPicPr>
              <a:picLocks noChangeAspect="1"/>
            </p:cNvPicPr>
            <p:nvPr/>
          </p:nvPicPr>
          <p:blipFill rotWithShape="1">
            <a:blip r:embed="rId3"/>
            <a:srcRect r="50000"/>
            <a:stretch/>
          </p:blipFill>
          <p:spPr>
            <a:xfrm>
              <a:off x="5059898" y="2125664"/>
              <a:ext cx="1158340" cy="3657600"/>
            </a:xfrm>
            <a:prstGeom prst="rect">
              <a:avLst/>
            </a:prstGeom>
          </p:spPr>
        </p:pic>
      </p:grpSp>
      <p:grpSp>
        <p:nvGrpSpPr>
          <p:cNvPr id="9" name="Group 8"/>
          <p:cNvGrpSpPr/>
          <p:nvPr/>
        </p:nvGrpSpPr>
        <p:grpSpPr>
          <a:xfrm>
            <a:off x="9418185" y="2430614"/>
            <a:ext cx="2742811" cy="3657082"/>
            <a:chOff x="6218236" y="2125662"/>
            <a:chExt cx="2743201" cy="3657601"/>
          </a:xfrm>
        </p:grpSpPr>
        <p:sp>
          <p:nvSpPr>
            <p:cNvPr id="44" name="Rectangle 43"/>
            <p:cNvSpPr/>
            <p:nvPr/>
          </p:nvSpPr>
          <p:spPr bwMode="auto">
            <a:xfrm>
              <a:off x="6218237" y="2125662"/>
              <a:ext cx="2743200" cy="365760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r" defTabSz="932293" fontAlgn="base">
                <a:lnSpc>
                  <a:spcPct val="90000"/>
                </a:lnSpc>
                <a:spcBef>
                  <a:spcPct val="0"/>
                </a:spcBef>
                <a:spcAft>
                  <a:spcPct val="0"/>
                </a:spcAft>
                <a:defRPr/>
              </a:pPr>
              <a:r>
                <a:rPr lang="en-US" sz="2400" dirty="0">
                  <a:gradFill>
                    <a:gsLst>
                      <a:gs pos="2917">
                        <a:srgbClr val="FFFFFF"/>
                      </a:gs>
                      <a:gs pos="97000">
                        <a:srgbClr val="FFFFFF"/>
                      </a:gs>
                    </a:gsLst>
                    <a:lin ang="5400000" scaled="0"/>
                  </a:gradFill>
                  <a:latin typeface="Segoe UI Light"/>
                  <a:ea typeface="Segoe UI" pitchFamily="34" charset="0"/>
                  <a:cs typeface="Segoe UI" pitchFamily="34" charset="0"/>
                </a:rPr>
                <a:t>Actionable </a:t>
              </a:r>
            </a:p>
            <a:p>
              <a:pPr algn="r" defTabSz="932293" fontAlgn="base">
                <a:lnSpc>
                  <a:spcPct val="90000"/>
                </a:lnSpc>
                <a:spcBef>
                  <a:spcPct val="0"/>
                </a:spcBef>
                <a:spcAft>
                  <a:spcPct val="0"/>
                </a:spcAft>
                <a:defRPr/>
              </a:pPr>
              <a:r>
                <a:rPr lang="en-US" sz="2400" dirty="0">
                  <a:gradFill>
                    <a:gsLst>
                      <a:gs pos="2917">
                        <a:srgbClr val="FFFFFF"/>
                      </a:gs>
                      <a:gs pos="97000">
                        <a:srgbClr val="FFFFFF"/>
                      </a:gs>
                    </a:gsLst>
                    <a:lin ang="5400000" scaled="0"/>
                  </a:gradFill>
                  <a:latin typeface="Segoe UI Light"/>
                  <a:ea typeface="Segoe UI" pitchFamily="34" charset="0"/>
                  <a:cs typeface="Segoe UI" pitchFamily="34" charset="0"/>
                </a:rPr>
                <a:t>results </a:t>
              </a:r>
            </a:p>
          </p:txBody>
        </p:sp>
        <p:pic>
          <p:nvPicPr>
            <p:cNvPr id="28" name="Picture 27"/>
            <p:cNvPicPr>
              <a:picLocks noChangeAspect="1"/>
            </p:cNvPicPr>
            <p:nvPr/>
          </p:nvPicPr>
          <p:blipFill rotWithShape="1">
            <a:blip r:embed="rId3"/>
            <a:srcRect l="50160" r="-160"/>
            <a:stretch/>
          </p:blipFill>
          <p:spPr>
            <a:xfrm>
              <a:off x="6218236" y="2136776"/>
              <a:ext cx="1158340" cy="3646487"/>
            </a:xfrm>
            <a:prstGeom prst="rect">
              <a:avLst/>
            </a:prstGeom>
          </p:spPr>
        </p:pic>
      </p:grpSp>
      <p:sp>
        <p:nvSpPr>
          <p:cNvPr id="46" name="Rectangle 45"/>
          <p:cNvSpPr/>
          <p:nvPr/>
        </p:nvSpPr>
        <p:spPr bwMode="auto">
          <a:xfrm>
            <a:off x="3064006" y="2430616"/>
            <a:ext cx="6308465" cy="365708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47" name="Freeform 46"/>
          <p:cNvSpPr/>
          <p:nvPr/>
        </p:nvSpPr>
        <p:spPr bwMode="auto">
          <a:xfrm>
            <a:off x="4685473" y="4299733"/>
            <a:ext cx="3076064" cy="1543444"/>
          </a:xfrm>
          <a:custGeom>
            <a:avLst/>
            <a:gdLst>
              <a:gd name="connsiteX0" fmla="*/ 0 w 3154215"/>
              <a:gd name="connsiteY0" fmla="*/ 509439 h 1650246"/>
              <a:gd name="connsiteX1" fmla="*/ 10932 w 3154215"/>
              <a:gd name="connsiteY1" fmla="*/ 544262 h 1650246"/>
              <a:gd name="connsiteX2" fmla="*/ 7183 w 3154215"/>
              <a:gd name="connsiteY2" fmla="*/ 534564 h 1650246"/>
              <a:gd name="connsiteX3" fmla="*/ 894341 w 3154215"/>
              <a:gd name="connsiteY3" fmla="*/ 384534 h 1650246"/>
              <a:gd name="connsiteX4" fmla="*/ 897970 w 3154215"/>
              <a:gd name="connsiteY4" fmla="*/ 391641 h 1650246"/>
              <a:gd name="connsiteX5" fmla="*/ 902367 w 3154215"/>
              <a:gd name="connsiteY5" fmla="*/ 397746 h 1650246"/>
              <a:gd name="connsiteX6" fmla="*/ 800755 w 3154215"/>
              <a:gd name="connsiteY6" fmla="*/ 98652 h 1650246"/>
              <a:gd name="connsiteX7" fmla="*/ 805324 w 3154215"/>
              <a:gd name="connsiteY7" fmla="*/ 126058 h 1650246"/>
              <a:gd name="connsiteX8" fmla="*/ 804819 w 3154215"/>
              <a:gd name="connsiteY8" fmla="*/ 120064 h 1650246"/>
              <a:gd name="connsiteX9" fmla="*/ 811413 w 3154215"/>
              <a:gd name="connsiteY9" fmla="*/ 163271 h 1650246"/>
              <a:gd name="connsiteX10" fmla="*/ 1561019 w 3154215"/>
              <a:gd name="connsiteY10" fmla="*/ 774217 h 1650246"/>
              <a:gd name="connsiteX11" fmla="*/ 2309360 w 3154215"/>
              <a:gd name="connsiteY11" fmla="*/ 168409 h 1650246"/>
              <a:gd name="connsiteX12" fmla="*/ 2320036 w 3154215"/>
              <a:gd name="connsiteY12" fmla="*/ 101427 h 1650246"/>
              <a:gd name="connsiteX13" fmla="*/ 3102291 w 3154215"/>
              <a:gd name="connsiteY13" fmla="*/ 553063 h 1650246"/>
              <a:gd name="connsiteX14" fmla="*/ 3143038 w 3154215"/>
              <a:gd name="connsiteY14" fmla="*/ 423274 h 1650246"/>
              <a:gd name="connsiteX15" fmla="*/ 3149435 w 3154215"/>
              <a:gd name="connsiteY15" fmla="*/ 394166 h 1650246"/>
              <a:gd name="connsiteX16" fmla="*/ 3154215 w 3154215"/>
              <a:gd name="connsiteY16" fmla="*/ 396761 h 1650246"/>
              <a:gd name="connsiteX17" fmla="*/ 1561019 w 3154215"/>
              <a:gd name="connsiteY17" fmla="*/ 1650246 h 1650246"/>
              <a:gd name="connsiteX18" fmla="*/ 1560794 w 3154215"/>
              <a:gd name="connsiteY18" fmla="*/ 1650236 h 1650246"/>
              <a:gd name="connsiteX19" fmla="*/ 1577953 w 3154215"/>
              <a:gd name="connsiteY19" fmla="*/ 1649369 h 1650246"/>
              <a:gd name="connsiteX20" fmla="*/ 1515761 w 3154215"/>
              <a:gd name="connsiteY20" fmla="*/ 1647980 h 1650246"/>
              <a:gd name="connsiteX21" fmla="*/ 1556640 w 3154215"/>
              <a:gd name="connsiteY21" fmla="*/ 1650045 h 1650246"/>
              <a:gd name="connsiteX22" fmla="*/ 1407963 w 3154215"/>
              <a:gd name="connsiteY22" fmla="*/ 1643203 h 1650246"/>
              <a:gd name="connsiteX23" fmla="*/ 59809 w 3154215"/>
              <a:gd name="connsiteY23" fmla="*/ 670697 h 1650246"/>
              <a:gd name="connsiteX24" fmla="*/ 14218 w 3154215"/>
              <a:gd name="connsiteY24" fmla="*/ 552761 h 1650246"/>
              <a:gd name="connsiteX25" fmla="*/ 796315 w 3154215"/>
              <a:gd name="connsiteY25" fmla="*/ 0 h 1650246"/>
              <a:gd name="connsiteX26" fmla="*/ 796326 w 3154215"/>
              <a:gd name="connsiteY26" fmla="*/ 0 h 1650246"/>
              <a:gd name="connsiteX27" fmla="*/ 795868 w 3154215"/>
              <a:gd name="connsiteY27" fmla="*/ 9066 h 1650246"/>
              <a:gd name="connsiteX28" fmla="*/ 796479 w 3154215"/>
              <a:gd name="connsiteY28" fmla="*/ 21168 h 1650246"/>
              <a:gd name="connsiteX29" fmla="*/ 795458 w 3154215"/>
              <a:gd name="connsiteY29" fmla="*/ 9065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5458 w 3154215"/>
              <a:gd name="connsiteY28" fmla="*/ 9065 h 1650246"/>
              <a:gd name="connsiteX29" fmla="*/ 796326 w 3154215"/>
              <a:gd name="connsiteY29" fmla="*/ 0 h 1650246"/>
              <a:gd name="connsiteX30" fmla="*/ 795868 w 3154215"/>
              <a:gd name="connsiteY30" fmla="*/ 9066 h 1650246"/>
              <a:gd name="connsiteX31" fmla="*/ 796479 w 3154215"/>
              <a:gd name="connsiteY31" fmla="*/ 21168 h 1650246"/>
              <a:gd name="connsiteX32" fmla="*/ 795458 w 3154215"/>
              <a:gd name="connsiteY32" fmla="*/ 9065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6479 w 3154215"/>
              <a:gd name="connsiteY28" fmla="*/ 21168 h 1650246"/>
              <a:gd name="connsiteX29" fmla="*/ 796326 w 3154215"/>
              <a:gd name="connsiteY29" fmla="*/ 0 h 1650246"/>
              <a:gd name="connsiteX30" fmla="*/ 795868 w 3154215"/>
              <a:gd name="connsiteY30" fmla="*/ 9066 h 1650246"/>
              <a:gd name="connsiteX31" fmla="*/ 796479 w 3154215"/>
              <a:gd name="connsiteY31" fmla="*/ 21168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5868 w 3154215"/>
              <a:gd name="connsiteY28" fmla="*/ 9066 h 1650246"/>
              <a:gd name="connsiteX29" fmla="*/ 796326 w 3154215"/>
              <a:gd name="connsiteY29" fmla="*/ 0 h 1650246"/>
              <a:gd name="connsiteX30" fmla="*/ 795868 w 3154215"/>
              <a:gd name="connsiteY30" fmla="*/ 9066 h 1650246"/>
              <a:gd name="connsiteX0" fmla="*/ 0 w 3154215"/>
              <a:gd name="connsiteY0" fmla="*/ 410787 h 1551594"/>
              <a:gd name="connsiteX1" fmla="*/ 10932 w 3154215"/>
              <a:gd name="connsiteY1" fmla="*/ 445610 h 1551594"/>
              <a:gd name="connsiteX2" fmla="*/ 7183 w 3154215"/>
              <a:gd name="connsiteY2" fmla="*/ 435912 h 1551594"/>
              <a:gd name="connsiteX3" fmla="*/ 0 w 3154215"/>
              <a:gd name="connsiteY3" fmla="*/ 410787 h 1551594"/>
              <a:gd name="connsiteX4" fmla="*/ 894341 w 3154215"/>
              <a:gd name="connsiteY4" fmla="*/ 285882 h 1551594"/>
              <a:gd name="connsiteX5" fmla="*/ 897970 w 3154215"/>
              <a:gd name="connsiteY5" fmla="*/ 292989 h 1551594"/>
              <a:gd name="connsiteX6" fmla="*/ 902367 w 3154215"/>
              <a:gd name="connsiteY6" fmla="*/ 299094 h 1551594"/>
              <a:gd name="connsiteX7" fmla="*/ 894341 w 3154215"/>
              <a:gd name="connsiteY7" fmla="*/ 285882 h 1551594"/>
              <a:gd name="connsiteX8" fmla="*/ 800755 w 3154215"/>
              <a:gd name="connsiteY8" fmla="*/ 0 h 1551594"/>
              <a:gd name="connsiteX9" fmla="*/ 805324 w 3154215"/>
              <a:gd name="connsiteY9" fmla="*/ 27406 h 1551594"/>
              <a:gd name="connsiteX10" fmla="*/ 804819 w 3154215"/>
              <a:gd name="connsiteY10" fmla="*/ 21412 h 1551594"/>
              <a:gd name="connsiteX11" fmla="*/ 811413 w 3154215"/>
              <a:gd name="connsiteY11" fmla="*/ 64619 h 1551594"/>
              <a:gd name="connsiteX12" fmla="*/ 1561019 w 3154215"/>
              <a:gd name="connsiteY12" fmla="*/ 675565 h 1551594"/>
              <a:gd name="connsiteX13" fmla="*/ 2309360 w 3154215"/>
              <a:gd name="connsiteY13" fmla="*/ 69757 h 1551594"/>
              <a:gd name="connsiteX14" fmla="*/ 2320036 w 3154215"/>
              <a:gd name="connsiteY14" fmla="*/ 2775 h 1551594"/>
              <a:gd name="connsiteX15" fmla="*/ 3102291 w 3154215"/>
              <a:gd name="connsiteY15" fmla="*/ 454411 h 1551594"/>
              <a:gd name="connsiteX16" fmla="*/ 3143038 w 3154215"/>
              <a:gd name="connsiteY16" fmla="*/ 324622 h 1551594"/>
              <a:gd name="connsiteX17" fmla="*/ 3149435 w 3154215"/>
              <a:gd name="connsiteY17" fmla="*/ 295514 h 1551594"/>
              <a:gd name="connsiteX18" fmla="*/ 3154215 w 3154215"/>
              <a:gd name="connsiteY18" fmla="*/ 298109 h 1551594"/>
              <a:gd name="connsiteX19" fmla="*/ 1561019 w 3154215"/>
              <a:gd name="connsiteY19" fmla="*/ 1551594 h 1551594"/>
              <a:gd name="connsiteX20" fmla="*/ 1560794 w 3154215"/>
              <a:gd name="connsiteY20" fmla="*/ 1551584 h 1551594"/>
              <a:gd name="connsiteX21" fmla="*/ 1577953 w 3154215"/>
              <a:gd name="connsiteY21" fmla="*/ 1550717 h 1551594"/>
              <a:gd name="connsiteX22" fmla="*/ 1515761 w 3154215"/>
              <a:gd name="connsiteY22" fmla="*/ 1549328 h 1551594"/>
              <a:gd name="connsiteX23" fmla="*/ 1556640 w 3154215"/>
              <a:gd name="connsiteY23" fmla="*/ 1551393 h 1551594"/>
              <a:gd name="connsiteX24" fmla="*/ 1407963 w 3154215"/>
              <a:gd name="connsiteY24" fmla="*/ 1544551 h 1551594"/>
              <a:gd name="connsiteX25" fmla="*/ 59809 w 3154215"/>
              <a:gd name="connsiteY25" fmla="*/ 572045 h 1551594"/>
              <a:gd name="connsiteX26" fmla="*/ 14218 w 3154215"/>
              <a:gd name="connsiteY26" fmla="*/ 454109 h 1551594"/>
              <a:gd name="connsiteX27" fmla="*/ 800755 w 3154215"/>
              <a:gd name="connsiteY27" fmla="*/ 0 h 1551594"/>
              <a:gd name="connsiteX0" fmla="*/ 0 w 3147032"/>
              <a:gd name="connsiteY0" fmla="*/ 435912 h 1551594"/>
              <a:gd name="connsiteX1" fmla="*/ 3749 w 3147032"/>
              <a:gd name="connsiteY1" fmla="*/ 445610 h 1551594"/>
              <a:gd name="connsiteX2" fmla="*/ 0 w 3147032"/>
              <a:gd name="connsiteY2" fmla="*/ 435912 h 1551594"/>
              <a:gd name="connsiteX3" fmla="*/ 887158 w 3147032"/>
              <a:gd name="connsiteY3" fmla="*/ 285882 h 1551594"/>
              <a:gd name="connsiteX4" fmla="*/ 890787 w 3147032"/>
              <a:gd name="connsiteY4" fmla="*/ 292989 h 1551594"/>
              <a:gd name="connsiteX5" fmla="*/ 895184 w 3147032"/>
              <a:gd name="connsiteY5" fmla="*/ 299094 h 1551594"/>
              <a:gd name="connsiteX6" fmla="*/ 887158 w 3147032"/>
              <a:gd name="connsiteY6" fmla="*/ 285882 h 1551594"/>
              <a:gd name="connsiteX7" fmla="*/ 793572 w 3147032"/>
              <a:gd name="connsiteY7" fmla="*/ 0 h 1551594"/>
              <a:gd name="connsiteX8" fmla="*/ 798141 w 3147032"/>
              <a:gd name="connsiteY8" fmla="*/ 27406 h 1551594"/>
              <a:gd name="connsiteX9" fmla="*/ 797636 w 3147032"/>
              <a:gd name="connsiteY9" fmla="*/ 21412 h 1551594"/>
              <a:gd name="connsiteX10" fmla="*/ 804230 w 3147032"/>
              <a:gd name="connsiteY10" fmla="*/ 64619 h 1551594"/>
              <a:gd name="connsiteX11" fmla="*/ 1553836 w 3147032"/>
              <a:gd name="connsiteY11" fmla="*/ 675565 h 1551594"/>
              <a:gd name="connsiteX12" fmla="*/ 2302177 w 3147032"/>
              <a:gd name="connsiteY12" fmla="*/ 69757 h 1551594"/>
              <a:gd name="connsiteX13" fmla="*/ 2312853 w 3147032"/>
              <a:gd name="connsiteY13" fmla="*/ 2775 h 1551594"/>
              <a:gd name="connsiteX14" fmla="*/ 3095108 w 3147032"/>
              <a:gd name="connsiteY14" fmla="*/ 454411 h 1551594"/>
              <a:gd name="connsiteX15" fmla="*/ 3135855 w 3147032"/>
              <a:gd name="connsiteY15" fmla="*/ 324622 h 1551594"/>
              <a:gd name="connsiteX16" fmla="*/ 3142252 w 3147032"/>
              <a:gd name="connsiteY16" fmla="*/ 295514 h 1551594"/>
              <a:gd name="connsiteX17" fmla="*/ 3147032 w 3147032"/>
              <a:gd name="connsiteY17" fmla="*/ 298109 h 1551594"/>
              <a:gd name="connsiteX18" fmla="*/ 1553836 w 3147032"/>
              <a:gd name="connsiteY18" fmla="*/ 1551594 h 1551594"/>
              <a:gd name="connsiteX19" fmla="*/ 1553611 w 3147032"/>
              <a:gd name="connsiteY19" fmla="*/ 1551584 h 1551594"/>
              <a:gd name="connsiteX20" fmla="*/ 1570770 w 3147032"/>
              <a:gd name="connsiteY20" fmla="*/ 1550717 h 1551594"/>
              <a:gd name="connsiteX21" fmla="*/ 1508578 w 3147032"/>
              <a:gd name="connsiteY21" fmla="*/ 1549328 h 1551594"/>
              <a:gd name="connsiteX22" fmla="*/ 1549457 w 3147032"/>
              <a:gd name="connsiteY22" fmla="*/ 1551393 h 1551594"/>
              <a:gd name="connsiteX23" fmla="*/ 1400780 w 3147032"/>
              <a:gd name="connsiteY23" fmla="*/ 1544551 h 1551594"/>
              <a:gd name="connsiteX24" fmla="*/ 52626 w 3147032"/>
              <a:gd name="connsiteY24" fmla="*/ 572045 h 1551594"/>
              <a:gd name="connsiteX25" fmla="*/ 7035 w 3147032"/>
              <a:gd name="connsiteY25" fmla="*/ 454109 h 1551594"/>
              <a:gd name="connsiteX26" fmla="*/ 793572 w 3147032"/>
              <a:gd name="connsiteY26" fmla="*/ 0 h 1551594"/>
              <a:gd name="connsiteX0" fmla="*/ 880123 w 3139997"/>
              <a:gd name="connsiteY0" fmla="*/ 285882 h 1551594"/>
              <a:gd name="connsiteX1" fmla="*/ 883752 w 3139997"/>
              <a:gd name="connsiteY1" fmla="*/ 292989 h 1551594"/>
              <a:gd name="connsiteX2" fmla="*/ 888149 w 3139997"/>
              <a:gd name="connsiteY2" fmla="*/ 299094 h 1551594"/>
              <a:gd name="connsiteX3" fmla="*/ 880123 w 3139997"/>
              <a:gd name="connsiteY3" fmla="*/ 285882 h 1551594"/>
              <a:gd name="connsiteX4" fmla="*/ 786537 w 3139997"/>
              <a:gd name="connsiteY4" fmla="*/ 0 h 1551594"/>
              <a:gd name="connsiteX5" fmla="*/ 791106 w 3139997"/>
              <a:gd name="connsiteY5" fmla="*/ 27406 h 1551594"/>
              <a:gd name="connsiteX6" fmla="*/ 790601 w 3139997"/>
              <a:gd name="connsiteY6" fmla="*/ 21412 h 1551594"/>
              <a:gd name="connsiteX7" fmla="*/ 797195 w 3139997"/>
              <a:gd name="connsiteY7" fmla="*/ 64619 h 1551594"/>
              <a:gd name="connsiteX8" fmla="*/ 1546801 w 3139997"/>
              <a:gd name="connsiteY8" fmla="*/ 675565 h 1551594"/>
              <a:gd name="connsiteX9" fmla="*/ 2295142 w 3139997"/>
              <a:gd name="connsiteY9" fmla="*/ 69757 h 1551594"/>
              <a:gd name="connsiteX10" fmla="*/ 2305818 w 3139997"/>
              <a:gd name="connsiteY10" fmla="*/ 2775 h 1551594"/>
              <a:gd name="connsiteX11" fmla="*/ 3088073 w 3139997"/>
              <a:gd name="connsiteY11" fmla="*/ 454411 h 1551594"/>
              <a:gd name="connsiteX12" fmla="*/ 3128820 w 3139997"/>
              <a:gd name="connsiteY12" fmla="*/ 324622 h 1551594"/>
              <a:gd name="connsiteX13" fmla="*/ 3135217 w 3139997"/>
              <a:gd name="connsiteY13" fmla="*/ 295514 h 1551594"/>
              <a:gd name="connsiteX14" fmla="*/ 3139997 w 3139997"/>
              <a:gd name="connsiteY14" fmla="*/ 298109 h 1551594"/>
              <a:gd name="connsiteX15" fmla="*/ 1546801 w 3139997"/>
              <a:gd name="connsiteY15" fmla="*/ 1551594 h 1551594"/>
              <a:gd name="connsiteX16" fmla="*/ 1546576 w 3139997"/>
              <a:gd name="connsiteY16" fmla="*/ 1551584 h 1551594"/>
              <a:gd name="connsiteX17" fmla="*/ 1563735 w 3139997"/>
              <a:gd name="connsiteY17" fmla="*/ 1550717 h 1551594"/>
              <a:gd name="connsiteX18" fmla="*/ 1501543 w 3139997"/>
              <a:gd name="connsiteY18" fmla="*/ 1549328 h 1551594"/>
              <a:gd name="connsiteX19" fmla="*/ 1542422 w 3139997"/>
              <a:gd name="connsiteY19" fmla="*/ 1551393 h 1551594"/>
              <a:gd name="connsiteX20" fmla="*/ 1393745 w 3139997"/>
              <a:gd name="connsiteY20" fmla="*/ 1544551 h 1551594"/>
              <a:gd name="connsiteX21" fmla="*/ 45591 w 3139997"/>
              <a:gd name="connsiteY21" fmla="*/ 572045 h 1551594"/>
              <a:gd name="connsiteX22" fmla="*/ 0 w 3139997"/>
              <a:gd name="connsiteY22" fmla="*/ 454109 h 1551594"/>
              <a:gd name="connsiteX23" fmla="*/ 786537 w 3139997"/>
              <a:gd name="connsiteY23" fmla="*/ 0 h 1551594"/>
              <a:gd name="connsiteX0" fmla="*/ 880123 w 3135217"/>
              <a:gd name="connsiteY0" fmla="*/ 285882 h 1551594"/>
              <a:gd name="connsiteX1" fmla="*/ 883752 w 3135217"/>
              <a:gd name="connsiteY1" fmla="*/ 292989 h 1551594"/>
              <a:gd name="connsiteX2" fmla="*/ 888149 w 3135217"/>
              <a:gd name="connsiteY2" fmla="*/ 299094 h 1551594"/>
              <a:gd name="connsiteX3" fmla="*/ 880123 w 3135217"/>
              <a:gd name="connsiteY3" fmla="*/ 285882 h 1551594"/>
              <a:gd name="connsiteX4" fmla="*/ 786537 w 3135217"/>
              <a:gd name="connsiteY4" fmla="*/ 0 h 1551594"/>
              <a:gd name="connsiteX5" fmla="*/ 791106 w 3135217"/>
              <a:gd name="connsiteY5" fmla="*/ 27406 h 1551594"/>
              <a:gd name="connsiteX6" fmla="*/ 790601 w 3135217"/>
              <a:gd name="connsiteY6" fmla="*/ 21412 h 1551594"/>
              <a:gd name="connsiteX7" fmla="*/ 797195 w 3135217"/>
              <a:gd name="connsiteY7" fmla="*/ 64619 h 1551594"/>
              <a:gd name="connsiteX8" fmla="*/ 1546801 w 3135217"/>
              <a:gd name="connsiteY8" fmla="*/ 675565 h 1551594"/>
              <a:gd name="connsiteX9" fmla="*/ 2295142 w 3135217"/>
              <a:gd name="connsiteY9" fmla="*/ 69757 h 1551594"/>
              <a:gd name="connsiteX10" fmla="*/ 2305818 w 3135217"/>
              <a:gd name="connsiteY10" fmla="*/ 2775 h 1551594"/>
              <a:gd name="connsiteX11" fmla="*/ 3088073 w 3135217"/>
              <a:gd name="connsiteY11" fmla="*/ 454411 h 1551594"/>
              <a:gd name="connsiteX12" fmla="*/ 3128820 w 3135217"/>
              <a:gd name="connsiteY12" fmla="*/ 324622 h 1551594"/>
              <a:gd name="connsiteX13" fmla="*/ 3135217 w 3135217"/>
              <a:gd name="connsiteY13" fmla="*/ 295514 h 1551594"/>
              <a:gd name="connsiteX14" fmla="*/ 3087546 w 3135217"/>
              <a:gd name="connsiteY14" fmla="*/ 460227 h 1551594"/>
              <a:gd name="connsiteX15" fmla="*/ 1546801 w 3135217"/>
              <a:gd name="connsiteY15" fmla="*/ 1551594 h 1551594"/>
              <a:gd name="connsiteX16" fmla="*/ 1546576 w 3135217"/>
              <a:gd name="connsiteY16" fmla="*/ 1551584 h 1551594"/>
              <a:gd name="connsiteX17" fmla="*/ 1563735 w 3135217"/>
              <a:gd name="connsiteY17" fmla="*/ 1550717 h 1551594"/>
              <a:gd name="connsiteX18" fmla="*/ 1501543 w 3135217"/>
              <a:gd name="connsiteY18" fmla="*/ 1549328 h 1551594"/>
              <a:gd name="connsiteX19" fmla="*/ 1542422 w 3135217"/>
              <a:gd name="connsiteY19" fmla="*/ 1551393 h 1551594"/>
              <a:gd name="connsiteX20" fmla="*/ 1393745 w 3135217"/>
              <a:gd name="connsiteY20" fmla="*/ 1544551 h 1551594"/>
              <a:gd name="connsiteX21" fmla="*/ 45591 w 3135217"/>
              <a:gd name="connsiteY21" fmla="*/ 572045 h 1551594"/>
              <a:gd name="connsiteX22" fmla="*/ 0 w 3135217"/>
              <a:gd name="connsiteY22" fmla="*/ 454109 h 1551594"/>
              <a:gd name="connsiteX23" fmla="*/ 786537 w 3135217"/>
              <a:gd name="connsiteY23" fmla="*/ 0 h 1551594"/>
              <a:gd name="connsiteX0" fmla="*/ 880123 w 3135217"/>
              <a:gd name="connsiteY0" fmla="*/ 285882 h 1551594"/>
              <a:gd name="connsiteX1" fmla="*/ 883752 w 3135217"/>
              <a:gd name="connsiteY1" fmla="*/ 292989 h 1551594"/>
              <a:gd name="connsiteX2" fmla="*/ 888149 w 3135217"/>
              <a:gd name="connsiteY2" fmla="*/ 299094 h 1551594"/>
              <a:gd name="connsiteX3" fmla="*/ 880123 w 3135217"/>
              <a:gd name="connsiteY3" fmla="*/ 285882 h 1551594"/>
              <a:gd name="connsiteX4" fmla="*/ 786537 w 3135217"/>
              <a:gd name="connsiteY4" fmla="*/ 0 h 1551594"/>
              <a:gd name="connsiteX5" fmla="*/ 791106 w 3135217"/>
              <a:gd name="connsiteY5" fmla="*/ 27406 h 1551594"/>
              <a:gd name="connsiteX6" fmla="*/ 790601 w 3135217"/>
              <a:gd name="connsiteY6" fmla="*/ 21412 h 1551594"/>
              <a:gd name="connsiteX7" fmla="*/ 797195 w 3135217"/>
              <a:gd name="connsiteY7" fmla="*/ 64619 h 1551594"/>
              <a:gd name="connsiteX8" fmla="*/ 1546801 w 3135217"/>
              <a:gd name="connsiteY8" fmla="*/ 675565 h 1551594"/>
              <a:gd name="connsiteX9" fmla="*/ 2295142 w 3135217"/>
              <a:gd name="connsiteY9" fmla="*/ 69757 h 1551594"/>
              <a:gd name="connsiteX10" fmla="*/ 2305818 w 3135217"/>
              <a:gd name="connsiteY10" fmla="*/ 2775 h 1551594"/>
              <a:gd name="connsiteX11" fmla="*/ 3088073 w 3135217"/>
              <a:gd name="connsiteY11" fmla="*/ 454411 h 1551594"/>
              <a:gd name="connsiteX12" fmla="*/ 3128820 w 3135217"/>
              <a:gd name="connsiteY12" fmla="*/ 324622 h 1551594"/>
              <a:gd name="connsiteX13" fmla="*/ 3135217 w 3135217"/>
              <a:gd name="connsiteY13" fmla="*/ 295514 h 1551594"/>
              <a:gd name="connsiteX14" fmla="*/ 3087546 w 3135217"/>
              <a:gd name="connsiteY14" fmla="*/ 460227 h 1551594"/>
              <a:gd name="connsiteX15" fmla="*/ 1546801 w 3135217"/>
              <a:gd name="connsiteY15" fmla="*/ 1551594 h 1551594"/>
              <a:gd name="connsiteX16" fmla="*/ 1546576 w 3135217"/>
              <a:gd name="connsiteY16" fmla="*/ 1551584 h 1551594"/>
              <a:gd name="connsiteX17" fmla="*/ 1563735 w 3135217"/>
              <a:gd name="connsiteY17" fmla="*/ 1550717 h 1551594"/>
              <a:gd name="connsiteX18" fmla="*/ 1501543 w 3135217"/>
              <a:gd name="connsiteY18" fmla="*/ 1549328 h 1551594"/>
              <a:gd name="connsiteX19" fmla="*/ 1542422 w 3135217"/>
              <a:gd name="connsiteY19" fmla="*/ 1551393 h 1551594"/>
              <a:gd name="connsiteX20" fmla="*/ 1393745 w 3135217"/>
              <a:gd name="connsiteY20" fmla="*/ 1544551 h 1551594"/>
              <a:gd name="connsiteX21" fmla="*/ 45591 w 3135217"/>
              <a:gd name="connsiteY21" fmla="*/ 572045 h 1551594"/>
              <a:gd name="connsiteX22" fmla="*/ 0 w 3135217"/>
              <a:gd name="connsiteY22" fmla="*/ 454109 h 1551594"/>
              <a:gd name="connsiteX23" fmla="*/ 786537 w 3135217"/>
              <a:gd name="connsiteY23" fmla="*/ 0 h 1551594"/>
              <a:gd name="connsiteX0" fmla="*/ 880123 w 3128821"/>
              <a:gd name="connsiteY0" fmla="*/ 285882 h 1551594"/>
              <a:gd name="connsiteX1" fmla="*/ 883752 w 3128821"/>
              <a:gd name="connsiteY1" fmla="*/ 292989 h 1551594"/>
              <a:gd name="connsiteX2" fmla="*/ 888149 w 3128821"/>
              <a:gd name="connsiteY2" fmla="*/ 299094 h 1551594"/>
              <a:gd name="connsiteX3" fmla="*/ 880123 w 3128821"/>
              <a:gd name="connsiteY3" fmla="*/ 285882 h 1551594"/>
              <a:gd name="connsiteX4" fmla="*/ 786537 w 3128821"/>
              <a:gd name="connsiteY4" fmla="*/ 0 h 1551594"/>
              <a:gd name="connsiteX5" fmla="*/ 791106 w 3128821"/>
              <a:gd name="connsiteY5" fmla="*/ 27406 h 1551594"/>
              <a:gd name="connsiteX6" fmla="*/ 790601 w 3128821"/>
              <a:gd name="connsiteY6" fmla="*/ 21412 h 1551594"/>
              <a:gd name="connsiteX7" fmla="*/ 797195 w 3128821"/>
              <a:gd name="connsiteY7" fmla="*/ 64619 h 1551594"/>
              <a:gd name="connsiteX8" fmla="*/ 1546801 w 3128821"/>
              <a:gd name="connsiteY8" fmla="*/ 675565 h 1551594"/>
              <a:gd name="connsiteX9" fmla="*/ 2295142 w 3128821"/>
              <a:gd name="connsiteY9" fmla="*/ 69757 h 1551594"/>
              <a:gd name="connsiteX10" fmla="*/ 2305818 w 3128821"/>
              <a:gd name="connsiteY10" fmla="*/ 2775 h 1551594"/>
              <a:gd name="connsiteX11" fmla="*/ 3088073 w 3128821"/>
              <a:gd name="connsiteY11" fmla="*/ 454411 h 1551594"/>
              <a:gd name="connsiteX12" fmla="*/ 3128820 w 3128821"/>
              <a:gd name="connsiteY12" fmla="*/ 324622 h 1551594"/>
              <a:gd name="connsiteX13" fmla="*/ 3092302 w 3128821"/>
              <a:gd name="connsiteY13" fmla="*/ 457632 h 1551594"/>
              <a:gd name="connsiteX14" fmla="*/ 3087546 w 3128821"/>
              <a:gd name="connsiteY14" fmla="*/ 460227 h 1551594"/>
              <a:gd name="connsiteX15" fmla="*/ 1546801 w 3128821"/>
              <a:gd name="connsiteY15" fmla="*/ 1551594 h 1551594"/>
              <a:gd name="connsiteX16" fmla="*/ 1546576 w 3128821"/>
              <a:gd name="connsiteY16" fmla="*/ 1551584 h 1551594"/>
              <a:gd name="connsiteX17" fmla="*/ 1563735 w 3128821"/>
              <a:gd name="connsiteY17" fmla="*/ 1550717 h 1551594"/>
              <a:gd name="connsiteX18" fmla="*/ 1501543 w 3128821"/>
              <a:gd name="connsiteY18" fmla="*/ 1549328 h 1551594"/>
              <a:gd name="connsiteX19" fmla="*/ 1542422 w 3128821"/>
              <a:gd name="connsiteY19" fmla="*/ 1551393 h 1551594"/>
              <a:gd name="connsiteX20" fmla="*/ 1393745 w 3128821"/>
              <a:gd name="connsiteY20" fmla="*/ 1544551 h 1551594"/>
              <a:gd name="connsiteX21" fmla="*/ 45591 w 3128821"/>
              <a:gd name="connsiteY21" fmla="*/ 572045 h 1551594"/>
              <a:gd name="connsiteX22" fmla="*/ 0 w 3128821"/>
              <a:gd name="connsiteY22" fmla="*/ 454109 h 1551594"/>
              <a:gd name="connsiteX23" fmla="*/ 786537 w 3128821"/>
              <a:gd name="connsiteY23" fmla="*/ 0 h 1551594"/>
              <a:gd name="connsiteX0" fmla="*/ 880123 w 3100209"/>
              <a:gd name="connsiteY0" fmla="*/ 285882 h 1551594"/>
              <a:gd name="connsiteX1" fmla="*/ 883752 w 3100209"/>
              <a:gd name="connsiteY1" fmla="*/ 292989 h 1551594"/>
              <a:gd name="connsiteX2" fmla="*/ 888149 w 3100209"/>
              <a:gd name="connsiteY2" fmla="*/ 299094 h 1551594"/>
              <a:gd name="connsiteX3" fmla="*/ 880123 w 3100209"/>
              <a:gd name="connsiteY3" fmla="*/ 285882 h 1551594"/>
              <a:gd name="connsiteX4" fmla="*/ 786537 w 3100209"/>
              <a:gd name="connsiteY4" fmla="*/ 0 h 1551594"/>
              <a:gd name="connsiteX5" fmla="*/ 791106 w 3100209"/>
              <a:gd name="connsiteY5" fmla="*/ 27406 h 1551594"/>
              <a:gd name="connsiteX6" fmla="*/ 790601 w 3100209"/>
              <a:gd name="connsiteY6" fmla="*/ 21412 h 1551594"/>
              <a:gd name="connsiteX7" fmla="*/ 797195 w 3100209"/>
              <a:gd name="connsiteY7" fmla="*/ 64619 h 1551594"/>
              <a:gd name="connsiteX8" fmla="*/ 1546801 w 3100209"/>
              <a:gd name="connsiteY8" fmla="*/ 675565 h 1551594"/>
              <a:gd name="connsiteX9" fmla="*/ 2295142 w 3100209"/>
              <a:gd name="connsiteY9" fmla="*/ 69757 h 1551594"/>
              <a:gd name="connsiteX10" fmla="*/ 2305818 w 3100209"/>
              <a:gd name="connsiteY10" fmla="*/ 2775 h 1551594"/>
              <a:gd name="connsiteX11" fmla="*/ 3088073 w 3100209"/>
              <a:gd name="connsiteY11" fmla="*/ 454411 h 1551594"/>
              <a:gd name="connsiteX12" fmla="*/ 3100209 w 3100209"/>
              <a:gd name="connsiteY12" fmla="*/ 439059 h 1551594"/>
              <a:gd name="connsiteX13" fmla="*/ 3092302 w 3100209"/>
              <a:gd name="connsiteY13" fmla="*/ 457632 h 1551594"/>
              <a:gd name="connsiteX14" fmla="*/ 3087546 w 3100209"/>
              <a:gd name="connsiteY14" fmla="*/ 460227 h 1551594"/>
              <a:gd name="connsiteX15" fmla="*/ 1546801 w 3100209"/>
              <a:gd name="connsiteY15" fmla="*/ 1551594 h 1551594"/>
              <a:gd name="connsiteX16" fmla="*/ 1546576 w 3100209"/>
              <a:gd name="connsiteY16" fmla="*/ 1551584 h 1551594"/>
              <a:gd name="connsiteX17" fmla="*/ 1563735 w 3100209"/>
              <a:gd name="connsiteY17" fmla="*/ 1550717 h 1551594"/>
              <a:gd name="connsiteX18" fmla="*/ 1501543 w 3100209"/>
              <a:gd name="connsiteY18" fmla="*/ 1549328 h 1551594"/>
              <a:gd name="connsiteX19" fmla="*/ 1542422 w 3100209"/>
              <a:gd name="connsiteY19" fmla="*/ 1551393 h 1551594"/>
              <a:gd name="connsiteX20" fmla="*/ 1393745 w 3100209"/>
              <a:gd name="connsiteY20" fmla="*/ 1544551 h 1551594"/>
              <a:gd name="connsiteX21" fmla="*/ 45591 w 3100209"/>
              <a:gd name="connsiteY21" fmla="*/ 572045 h 1551594"/>
              <a:gd name="connsiteX22" fmla="*/ 0 w 3100209"/>
              <a:gd name="connsiteY22" fmla="*/ 454109 h 1551594"/>
              <a:gd name="connsiteX23" fmla="*/ 786537 w 3100209"/>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92302" h="1551594">
                <a:moveTo>
                  <a:pt x="880123" y="285882"/>
                </a:moveTo>
                <a:cubicBezTo>
                  <a:pt x="881105" y="288376"/>
                  <a:pt x="882422" y="290684"/>
                  <a:pt x="883752" y="292989"/>
                </a:cubicBezTo>
                <a:lnTo>
                  <a:pt x="888149" y="299094"/>
                </a:lnTo>
                <a:lnTo>
                  <a:pt x="880123" y="285882"/>
                </a:lnTo>
                <a:close/>
                <a:moveTo>
                  <a:pt x="786537" y="0"/>
                </a:moveTo>
                <a:lnTo>
                  <a:pt x="791106" y="27406"/>
                </a:lnTo>
                <a:cubicBezTo>
                  <a:pt x="790938" y="25408"/>
                  <a:pt x="790769" y="23410"/>
                  <a:pt x="790601" y="21412"/>
                </a:cubicBezTo>
                <a:lnTo>
                  <a:pt x="797195" y="64619"/>
                </a:lnTo>
                <a:cubicBezTo>
                  <a:pt x="868542" y="413285"/>
                  <a:pt x="1177042" y="675565"/>
                  <a:pt x="1546801" y="675565"/>
                </a:cubicBezTo>
                <a:cubicBezTo>
                  <a:pt x="1914741" y="675565"/>
                  <a:pt x="2222023" y="415860"/>
                  <a:pt x="2295142" y="69757"/>
                </a:cubicBezTo>
                <a:lnTo>
                  <a:pt x="2305818" y="2775"/>
                </a:lnTo>
                <a:lnTo>
                  <a:pt x="3088073" y="454411"/>
                </a:lnTo>
                <a:cubicBezTo>
                  <a:pt x="3103491" y="411961"/>
                  <a:pt x="3069407" y="506944"/>
                  <a:pt x="3081136" y="462899"/>
                </a:cubicBezTo>
                <a:lnTo>
                  <a:pt x="3092302" y="457632"/>
                </a:lnTo>
                <a:lnTo>
                  <a:pt x="3087546" y="460227"/>
                </a:lnTo>
                <a:cubicBezTo>
                  <a:pt x="2875140" y="1041414"/>
                  <a:pt x="2319483" y="1551594"/>
                  <a:pt x="1546801" y="1551594"/>
                </a:cubicBezTo>
                <a:lnTo>
                  <a:pt x="1546576" y="1551584"/>
                </a:lnTo>
                <a:lnTo>
                  <a:pt x="1563735" y="1550717"/>
                </a:lnTo>
                <a:lnTo>
                  <a:pt x="1501543" y="1549328"/>
                </a:lnTo>
                <a:lnTo>
                  <a:pt x="1542422" y="1551393"/>
                </a:lnTo>
                <a:lnTo>
                  <a:pt x="1393745" y="1544551"/>
                </a:lnTo>
                <a:cubicBezTo>
                  <a:pt x="789032" y="1488624"/>
                  <a:pt x="279483" y="1104614"/>
                  <a:pt x="45591" y="572045"/>
                </a:cubicBezTo>
                <a:lnTo>
                  <a:pt x="0" y="454109"/>
                </a:lnTo>
                <a:lnTo>
                  <a:pt x="786537"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47"/>
          <p:cNvSpPr/>
          <p:nvPr/>
        </p:nvSpPr>
        <p:spPr bwMode="auto">
          <a:xfrm>
            <a:off x="4575014" y="2548122"/>
            <a:ext cx="1634066" cy="2174174"/>
          </a:xfrm>
          <a:custGeom>
            <a:avLst/>
            <a:gdLst>
              <a:gd name="connsiteX0" fmla="*/ 1596332 w 1658524"/>
              <a:gd name="connsiteY0" fmla="*/ 3280095 h 3282360"/>
              <a:gd name="connsiteX1" fmla="*/ 1658524 w 1658524"/>
              <a:gd name="connsiteY1" fmla="*/ 3281484 h 3282360"/>
              <a:gd name="connsiteX2" fmla="*/ 1641180 w 1658524"/>
              <a:gd name="connsiteY2" fmla="*/ 3282360 h 3282360"/>
              <a:gd name="connsiteX3" fmla="*/ 974912 w 1658524"/>
              <a:gd name="connsiteY3" fmla="*/ 2016649 h 3282360"/>
              <a:gd name="connsiteX4" fmla="*/ 982938 w 1658524"/>
              <a:gd name="connsiteY4" fmla="*/ 2029861 h 3282360"/>
              <a:gd name="connsiteX5" fmla="*/ 978541 w 1658524"/>
              <a:gd name="connsiteY5" fmla="*/ 2023756 h 3282360"/>
              <a:gd name="connsiteX6" fmla="*/ 974912 w 1658524"/>
              <a:gd name="connsiteY6" fmla="*/ 2016649 h 3282360"/>
              <a:gd name="connsiteX7" fmla="*/ 1634793 w 1658524"/>
              <a:gd name="connsiteY7" fmla="*/ 323 h 3282360"/>
              <a:gd name="connsiteX8" fmla="*/ 1634793 w 1658524"/>
              <a:gd name="connsiteY8" fmla="*/ 876089 h 3282360"/>
              <a:gd name="connsiteX9" fmla="*/ 1635948 w 1658524"/>
              <a:gd name="connsiteY9" fmla="*/ 876030 h 3282360"/>
              <a:gd name="connsiteX10" fmla="*/ 1638554 w 1658524"/>
              <a:gd name="connsiteY10" fmla="*/ 876162 h 3282360"/>
              <a:gd name="connsiteX11" fmla="*/ 1562948 w 1658524"/>
              <a:gd name="connsiteY11" fmla="*/ 879980 h 3282360"/>
              <a:gd name="connsiteX12" fmla="*/ 876029 w 1658524"/>
              <a:gd name="connsiteY12" fmla="*/ 1641180 h 3282360"/>
              <a:gd name="connsiteX13" fmla="*/ 885895 w 1658524"/>
              <a:gd name="connsiteY13" fmla="*/ 1758173 h 3282360"/>
              <a:gd name="connsiteX14" fmla="*/ 881326 w 1658524"/>
              <a:gd name="connsiteY14" fmla="*/ 1730767 h 3282360"/>
              <a:gd name="connsiteX15" fmla="*/ 94266 w 1658524"/>
              <a:gd name="connsiteY15" fmla="*/ 2185177 h 3282360"/>
              <a:gd name="connsiteX16" fmla="*/ 83587 w 1658524"/>
              <a:gd name="connsiteY16" fmla="*/ 2151160 h 3282360"/>
              <a:gd name="connsiteX17" fmla="*/ 80571 w 1658524"/>
              <a:gd name="connsiteY17" fmla="*/ 2141554 h 3282360"/>
              <a:gd name="connsiteX18" fmla="*/ 80572 w 1658524"/>
              <a:gd name="connsiteY18" fmla="*/ 2141559 h 3282360"/>
              <a:gd name="connsiteX19" fmla="*/ 53520 w 1658524"/>
              <a:gd name="connsiteY19" fmla="*/ 2055388 h 3282360"/>
              <a:gd name="connsiteX20" fmla="*/ 0 w 1658524"/>
              <a:gd name="connsiteY20" fmla="*/ 1641180 h 3282360"/>
              <a:gd name="connsiteX21" fmla="*/ 1473379 w 1658524"/>
              <a:gd name="connsiteY21" fmla="*/ 8473 h 3282360"/>
              <a:gd name="connsiteX22" fmla="*/ 1641180 w 1658524"/>
              <a:gd name="connsiteY22" fmla="*/ 0 h 3282360"/>
              <a:gd name="connsiteX23" fmla="*/ 1642335 w 1658524"/>
              <a:gd name="connsiteY23" fmla="*/ 59 h 3282360"/>
              <a:gd name="connsiteX24" fmla="*/ 1642335 w 1658524"/>
              <a:gd name="connsiteY24" fmla="*/ 324 h 3282360"/>
              <a:gd name="connsiteX25" fmla="*/ 1638554 w 1658524"/>
              <a:gd name="connsiteY25" fmla="*/ 133 h 3282360"/>
              <a:gd name="connsiteX0" fmla="*/ 1641180 w 1658524"/>
              <a:gd name="connsiteY0" fmla="*/ 3282360 h 3282360"/>
              <a:gd name="connsiteX1" fmla="*/ 1658524 w 1658524"/>
              <a:gd name="connsiteY1" fmla="*/ 3281484 h 3282360"/>
              <a:gd name="connsiteX2" fmla="*/ 1641180 w 1658524"/>
              <a:gd name="connsiteY2" fmla="*/ 3282360 h 3282360"/>
              <a:gd name="connsiteX3" fmla="*/ 974912 w 1658524"/>
              <a:gd name="connsiteY3" fmla="*/ 2016649 h 3282360"/>
              <a:gd name="connsiteX4" fmla="*/ 982938 w 1658524"/>
              <a:gd name="connsiteY4" fmla="*/ 2029861 h 3282360"/>
              <a:gd name="connsiteX5" fmla="*/ 978541 w 1658524"/>
              <a:gd name="connsiteY5" fmla="*/ 2023756 h 3282360"/>
              <a:gd name="connsiteX6" fmla="*/ 974912 w 1658524"/>
              <a:gd name="connsiteY6" fmla="*/ 2016649 h 3282360"/>
              <a:gd name="connsiteX7" fmla="*/ 1634793 w 1658524"/>
              <a:gd name="connsiteY7" fmla="*/ 323 h 3282360"/>
              <a:gd name="connsiteX8" fmla="*/ 1634793 w 1658524"/>
              <a:gd name="connsiteY8" fmla="*/ 876089 h 3282360"/>
              <a:gd name="connsiteX9" fmla="*/ 1635948 w 1658524"/>
              <a:gd name="connsiteY9" fmla="*/ 876030 h 3282360"/>
              <a:gd name="connsiteX10" fmla="*/ 1638554 w 1658524"/>
              <a:gd name="connsiteY10" fmla="*/ 876162 h 3282360"/>
              <a:gd name="connsiteX11" fmla="*/ 1562948 w 1658524"/>
              <a:gd name="connsiteY11" fmla="*/ 879980 h 3282360"/>
              <a:gd name="connsiteX12" fmla="*/ 876029 w 1658524"/>
              <a:gd name="connsiteY12" fmla="*/ 1641180 h 3282360"/>
              <a:gd name="connsiteX13" fmla="*/ 885895 w 1658524"/>
              <a:gd name="connsiteY13" fmla="*/ 1758173 h 3282360"/>
              <a:gd name="connsiteX14" fmla="*/ 881326 w 1658524"/>
              <a:gd name="connsiteY14" fmla="*/ 1730767 h 3282360"/>
              <a:gd name="connsiteX15" fmla="*/ 94266 w 1658524"/>
              <a:gd name="connsiteY15" fmla="*/ 2185177 h 3282360"/>
              <a:gd name="connsiteX16" fmla="*/ 83587 w 1658524"/>
              <a:gd name="connsiteY16" fmla="*/ 2151160 h 3282360"/>
              <a:gd name="connsiteX17" fmla="*/ 80571 w 1658524"/>
              <a:gd name="connsiteY17" fmla="*/ 2141554 h 3282360"/>
              <a:gd name="connsiteX18" fmla="*/ 80572 w 1658524"/>
              <a:gd name="connsiteY18" fmla="*/ 2141559 h 3282360"/>
              <a:gd name="connsiteX19" fmla="*/ 53520 w 1658524"/>
              <a:gd name="connsiteY19" fmla="*/ 2055388 h 3282360"/>
              <a:gd name="connsiteX20" fmla="*/ 0 w 1658524"/>
              <a:gd name="connsiteY20" fmla="*/ 1641180 h 3282360"/>
              <a:gd name="connsiteX21" fmla="*/ 1473379 w 1658524"/>
              <a:gd name="connsiteY21" fmla="*/ 8473 h 3282360"/>
              <a:gd name="connsiteX22" fmla="*/ 1634793 w 1658524"/>
              <a:gd name="connsiteY22" fmla="*/ 323 h 3282360"/>
              <a:gd name="connsiteX23" fmla="*/ 1641180 w 1658524"/>
              <a:gd name="connsiteY23" fmla="*/ 0 h 3282360"/>
              <a:gd name="connsiteX24" fmla="*/ 1642335 w 1658524"/>
              <a:gd name="connsiteY24" fmla="*/ 59 h 3282360"/>
              <a:gd name="connsiteX25" fmla="*/ 1642335 w 1658524"/>
              <a:gd name="connsiteY25" fmla="*/ 324 h 3282360"/>
              <a:gd name="connsiteX26" fmla="*/ 1638554 w 1658524"/>
              <a:gd name="connsiteY26" fmla="*/ 133 h 3282360"/>
              <a:gd name="connsiteX27" fmla="*/ 1641180 w 1658524"/>
              <a:gd name="connsiteY27" fmla="*/ 0 h 3282360"/>
              <a:gd name="connsiteX0" fmla="*/ 974912 w 1642335"/>
              <a:gd name="connsiteY0" fmla="*/ 2016649 h 2185177"/>
              <a:gd name="connsiteX1" fmla="*/ 982938 w 1642335"/>
              <a:gd name="connsiteY1" fmla="*/ 2029861 h 2185177"/>
              <a:gd name="connsiteX2" fmla="*/ 978541 w 1642335"/>
              <a:gd name="connsiteY2" fmla="*/ 2023756 h 2185177"/>
              <a:gd name="connsiteX3" fmla="*/ 974912 w 1642335"/>
              <a:gd name="connsiteY3" fmla="*/ 2016649 h 2185177"/>
              <a:gd name="connsiteX4" fmla="*/ 1634793 w 1642335"/>
              <a:gd name="connsiteY4" fmla="*/ 323 h 2185177"/>
              <a:gd name="connsiteX5" fmla="*/ 1634793 w 1642335"/>
              <a:gd name="connsiteY5" fmla="*/ 876089 h 2185177"/>
              <a:gd name="connsiteX6" fmla="*/ 1635948 w 1642335"/>
              <a:gd name="connsiteY6" fmla="*/ 876030 h 2185177"/>
              <a:gd name="connsiteX7" fmla="*/ 1638554 w 1642335"/>
              <a:gd name="connsiteY7" fmla="*/ 876162 h 2185177"/>
              <a:gd name="connsiteX8" fmla="*/ 1562948 w 1642335"/>
              <a:gd name="connsiteY8" fmla="*/ 879980 h 2185177"/>
              <a:gd name="connsiteX9" fmla="*/ 876029 w 1642335"/>
              <a:gd name="connsiteY9" fmla="*/ 1641180 h 2185177"/>
              <a:gd name="connsiteX10" fmla="*/ 885895 w 1642335"/>
              <a:gd name="connsiteY10" fmla="*/ 1758173 h 2185177"/>
              <a:gd name="connsiteX11" fmla="*/ 881326 w 1642335"/>
              <a:gd name="connsiteY11" fmla="*/ 1730767 h 2185177"/>
              <a:gd name="connsiteX12" fmla="*/ 94266 w 1642335"/>
              <a:gd name="connsiteY12" fmla="*/ 2185177 h 2185177"/>
              <a:gd name="connsiteX13" fmla="*/ 83587 w 1642335"/>
              <a:gd name="connsiteY13" fmla="*/ 2151160 h 2185177"/>
              <a:gd name="connsiteX14" fmla="*/ 80571 w 1642335"/>
              <a:gd name="connsiteY14" fmla="*/ 2141554 h 2185177"/>
              <a:gd name="connsiteX15" fmla="*/ 80572 w 1642335"/>
              <a:gd name="connsiteY15" fmla="*/ 2141559 h 2185177"/>
              <a:gd name="connsiteX16" fmla="*/ 53520 w 1642335"/>
              <a:gd name="connsiteY16" fmla="*/ 2055388 h 2185177"/>
              <a:gd name="connsiteX17" fmla="*/ 0 w 1642335"/>
              <a:gd name="connsiteY17" fmla="*/ 1641180 h 2185177"/>
              <a:gd name="connsiteX18" fmla="*/ 1473379 w 1642335"/>
              <a:gd name="connsiteY18" fmla="*/ 8473 h 2185177"/>
              <a:gd name="connsiteX19" fmla="*/ 1634793 w 1642335"/>
              <a:gd name="connsiteY19" fmla="*/ 323 h 2185177"/>
              <a:gd name="connsiteX20" fmla="*/ 1641180 w 1642335"/>
              <a:gd name="connsiteY20" fmla="*/ 0 h 2185177"/>
              <a:gd name="connsiteX21" fmla="*/ 1642335 w 1642335"/>
              <a:gd name="connsiteY21" fmla="*/ 59 h 2185177"/>
              <a:gd name="connsiteX22" fmla="*/ 1642335 w 1642335"/>
              <a:gd name="connsiteY22" fmla="*/ 324 h 2185177"/>
              <a:gd name="connsiteX23" fmla="*/ 1638554 w 1642335"/>
              <a:gd name="connsiteY23" fmla="*/ 133 h 2185177"/>
              <a:gd name="connsiteX24" fmla="*/ 1641180 w 1642335"/>
              <a:gd name="connsiteY24" fmla="*/ 0 h 2185177"/>
              <a:gd name="connsiteX0" fmla="*/ 978541 w 1642335"/>
              <a:gd name="connsiteY0" fmla="*/ 2023756 h 2185177"/>
              <a:gd name="connsiteX1" fmla="*/ 982938 w 1642335"/>
              <a:gd name="connsiteY1" fmla="*/ 2029861 h 2185177"/>
              <a:gd name="connsiteX2" fmla="*/ 978541 w 1642335"/>
              <a:gd name="connsiteY2" fmla="*/ 2023756 h 2185177"/>
              <a:gd name="connsiteX3" fmla="*/ 1634793 w 1642335"/>
              <a:gd name="connsiteY3" fmla="*/ 323 h 2185177"/>
              <a:gd name="connsiteX4" fmla="*/ 1634793 w 1642335"/>
              <a:gd name="connsiteY4" fmla="*/ 876089 h 2185177"/>
              <a:gd name="connsiteX5" fmla="*/ 1635948 w 1642335"/>
              <a:gd name="connsiteY5" fmla="*/ 876030 h 2185177"/>
              <a:gd name="connsiteX6" fmla="*/ 1638554 w 1642335"/>
              <a:gd name="connsiteY6" fmla="*/ 876162 h 2185177"/>
              <a:gd name="connsiteX7" fmla="*/ 1562948 w 1642335"/>
              <a:gd name="connsiteY7" fmla="*/ 879980 h 2185177"/>
              <a:gd name="connsiteX8" fmla="*/ 876029 w 1642335"/>
              <a:gd name="connsiteY8" fmla="*/ 1641180 h 2185177"/>
              <a:gd name="connsiteX9" fmla="*/ 885895 w 1642335"/>
              <a:gd name="connsiteY9" fmla="*/ 1758173 h 2185177"/>
              <a:gd name="connsiteX10" fmla="*/ 881326 w 1642335"/>
              <a:gd name="connsiteY10" fmla="*/ 1730767 h 2185177"/>
              <a:gd name="connsiteX11" fmla="*/ 94266 w 1642335"/>
              <a:gd name="connsiteY11" fmla="*/ 2185177 h 2185177"/>
              <a:gd name="connsiteX12" fmla="*/ 83587 w 1642335"/>
              <a:gd name="connsiteY12" fmla="*/ 2151160 h 2185177"/>
              <a:gd name="connsiteX13" fmla="*/ 80571 w 1642335"/>
              <a:gd name="connsiteY13" fmla="*/ 2141554 h 2185177"/>
              <a:gd name="connsiteX14" fmla="*/ 80572 w 1642335"/>
              <a:gd name="connsiteY14" fmla="*/ 2141559 h 2185177"/>
              <a:gd name="connsiteX15" fmla="*/ 53520 w 1642335"/>
              <a:gd name="connsiteY15" fmla="*/ 2055388 h 2185177"/>
              <a:gd name="connsiteX16" fmla="*/ 0 w 1642335"/>
              <a:gd name="connsiteY16" fmla="*/ 1641180 h 2185177"/>
              <a:gd name="connsiteX17" fmla="*/ 1473379 w 1642335"/>
              <a:gd name="connsiteY17" fmla="*/ 8473 h 2185177"/>
              <a:gd name="connsiteX18" fmla="*/ 1634793 w 1642335"/>
              <a:gd name="connsiteY18" fmla="*/ 323 h 2185177"/>
              <a:gd name="connsiteX19" fmla="*/ 1641180 w 1642335"/>
              <a:gd name="connsiteY19" fmla="*/ 0 h 2185177"/>
              <a:gd name="connsiteX20" fmla="*/ 1642335 w 1642335"/>
              <a:gd name="connsiteY20" fmla="*/ 59 h 2185177"/>
              <a:gd name="connsiteX21" fmla="*/ 1642335 w 1642335"/>
              <a:gd name="connsiteY21" fmla="*/ 324 h 2185177"/>
              <a:gd name="connsiteX22" fmla="*/ 1638554 w 1642335"/>
              <a:gd name="connsiteY22" fmla="*/ 133 h 2185177"/>
              <a:gd name="connsiteX23" fmla="*/ 1641180 w 1642335"/>
              <a:gd name="connsiteY23" fmla="*/ 0 h 2185177"/>
              <a:gd name="connsiteX0" fmla="*/ 1634793 w 1642335"/>
              <a:gd name="connsiteY0" fmla="*/ 323 h 2185177"/>
              <a:gd name="connsiteX1" fmla="*/ 1634793 w 1642335"/>
              <a:gd name="connsiteY1" fmla="*/ 876089 h 2185177"/>
              <a:gd name="connsiteX2" fmla="*/ 1635948 w 1642335"/>
              <a:gd name="connsiteY2" fmla="*/ 876030 h 2185177"/>
              <a:gd name="connsiteX3" fmla="*/ 1638554 w 1642335"/>
              <a:gd name="connsiteY3" fmla="*/ 876162 h 2185177"/>
              <a:gd name="connsiteX4" fmla="*/ 1562948 w 1642335"/>
              <a:gd name="connsiteY4" fmla="*/ 879980 h 2185177"/>
              <a:gd name="connsiteX5" fmla="*/ 876029 w 1642335"/>
              <a:gd name="connsiteY5" fmla="*/ 1641180 h 2185177"/>
              <a:gd name="connsiteX6" fmla="*/ 885895 w 1642335"/>
              <a:gd name="connsiteY6" fmla="*/ 1758173 h 2185177"/>
              <a:gd name="connsiteX7" fmla="*/ 881326 w 1642335"/>
              <a:gd name="connsiteY7" fmla="*/ 1730767 h 2185177"/>
              <a:gd name="connsiteX8" fmla="*/ 94266 w 1642335"/>
              <a:gd name="connsiteY8" fmla="*/ 2185177 h 2185177"/>
              <a:gd name="connsiteX9" fmla="*/ 83587 w 1642335"/>
              <a:gd name="connsiteY9" fmla="*/ 2151160 h 2185177"/>
              <a:gd name="connsiteX10" fmla="*/ 80571 w 1642335"/>
              <a:gd name="connsiteY10" fmla="*/ 2141554 h 2185177"/>
              <a:gd name="connsiteX11" fmla="*/ 80572 w 1642335"/>
              <a:gd name="connsiteY11" fmla="*/ 2141559 h 2185177"/>
              <a:gd name="connsiteX12" fmla="*/ 53520 w 1642335"/>
              <a:gd name="connsiteY12" fmla="*/ 2055388 h 2185177"/>
              <a:gd name="connsiteX13" fmla="*/ 0 w 1642335"/>
              <a:gd name="connsiteY13" fmla="*/ 1641180 h 2185177"/>
              <a:gd name="connsiteX14" fmla="*/ 1473379 w 1642335"/>
              <a:gd name="connsiteY14" fmla="*/ 8473 h 2185177"/>
              <a:gd name="connsiteX15" fmla="*/ 1634793 w 1642335"/>
              <a:gd name="connsiteY15" fmla="*/ 323 h 2185177"/>
              <a:gd name="connsiteX16" fmla="*/ 1641180 w 1642335"/>
              <a:gd name="connsiteY16" fmla="*/ 0 h 2185177"/>
              <a:gd name="connsiteX17" fmla="*/ 1642335 w 1642335"/>
              <a:gd name="connsiteY17" fmla="*/ 59 h 2185177"/>
              <a:gd name="connsiteX18" fmla="*/ 1642335 w 1642335"/>
              <a:gd name="connsiteY18" fmla="*/ 324 h 2185177"/>
              <a:gd name="connsiteX19" fmla="*/ 1638554 w 1642335"/>
              <a:gd name="connsiteY19" fmla="*/ 133 h 2185177"/>
              <a:gd name="connsiteX20" fmla="*/ 1641180 w 1642335"/>
              <a:gd name="connsiteY20" fmla="*/ 0 h 2185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2335" h="2185177">
                <a:moveTo>
                  <a:pt x="1634793" y="323"/>
                </a:moveTo>
                <a:lnTo>
                  <a:pt x="1634793" y="876089"/>
                </a:lnTo>
                <a:cubicBezTo>
                  <a:pt x="1635178" y="876030"/>
                  <a:pt x="1635563" y="876030"/>
                  <a:pt x="1635948" y="876030"/>
                </a:cubicBezTo>
                <a:lnTo>
                  <a:pt x="1638554" y="876162"/>
                </a:lnTo>
                <a:lnTo>
                  <a:pt x="1562948" y="879980"/>
                </a:lnTo>
                <a:cubicBezTo>
                  <a:pt x="1177116" y="919163"/>
                  <a:pt x="876029" y="1245010"/>
                  <a:pt x="876029" y="1641180"/>
                </a:cubicBezTo>
                <a:cubicBezTo>
                  <a:pt x="876029" y="1681011"/>
                  <a:pt x="879073" y="1720131"/>
                  <a:pt x="885895" y="1758173"/>
                </a:cubicBezTo>
                <a:lnTo>
                  <a:pt x="881326" y="1730767"/>
                </a:lnTo>
                <a:lnTo>
                  <a:pt x="94266" y="2185177"/>
                </a:lnTo>
                <a:lnTo>
                  <a:pt x="83587" y="2151160"/>
                </a:lnTo>
                <a:lnTo>
                  <a:pt x="80571" y="2141554"/>
                </a:lnTo>
                <a:cubicBezTo>
                  <a:pt x="80571" y="2141556"/>
                  <a:pt x="80572" y="2141557"/>
                  <a:pt x="80572" y="2141559"/>
                </a:cubicBezTo>
                <a:lnTo>
                  <a:pt x="53520" y="2055388"/>
                </a:lnTo>
                <a:cubicBezTo>
                  <a:pt x="18335" y="1923253"/>
                  <a:pt x="0" y="1784358"/>
                  <a:pt x="0" y="1641180"/>
                </a:cubicBezTo>
                <a:cubicBezTo>
                  <a:pt x="0" y="791432"/>
                  <a:pt x="645805" y="92518"/>
                  <a:pt x="1473379" y="8473"/>
                </a:cubicBezTo>
                <a:lnTo>
                  <a:pt x="1634793" y="323"/>
                </a:lnTo>
                <a:close/>
                <a:moveTo>
                  <a:pt x="1641180" y="0"/>
                </a:moveTo>
                <a:lnTo>
                  <a:pt x="1642335" y="59"/>
                </a:lnTo>
                <a:lnTo>
                  <a:pt x="1642335" y="324"/>
                </a:lnTo>
                <a:lnTo>
                  <a:pt x="1638554" y="133"/>
                </a:lnTo>
                <a:lnTo>
                  <a:pt x="1641180"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Donut 28"/>
          <p:cNvSpPr/>
          <p:nvPr/>
        </p:nvSpPr>
        <p:spPr bwMode="auto">
          <a:xfrm flipH="1">
            <a:off x="6237970" y="2548123"/>
            <a:ext cx="1634066" cy="2174174"/>
          </a:xfrm>
          <a:custGeom>
            <a:avLst/>
            <a:gdLst>
              <a:gd name="connsiteX0" fmla="*/ 1966050 w 1986827"/>
              <a:gd name="connsiteY0" fmla="*/ 3932100 h 3932100"/>
              <a:gd name="connsiteX1" fmla="*/ 1986827 w 1986827"/>
              <a:gd name="connsiteY1" fmla="*/ 3931051 h 3932100"/>
              <a:gd name="connsiteX2" fmla="*/ 1966050 w 1986827"/>
              <a:gd name="connsiteY2" fmla="*/ 3932100 h 3932100"/>
              <a:gd name="connsiteX3" fmla="*/ 1167894 w 1986827"/>
              <a:gd name="connsiteY3" fmla="*/ 2415843 h 3932100"/>
              <a:gd name="connsiteX4" fmla="*/ 1177509 w 1986827"/>
              <a:gd name="connsiteY4" fmla="*/ 2431670 h 3932100"/>
              <a:gd name="connsiteX5" fmla="*/ 1172242 w 1986827"/>
              <a:gd name="connsiteY5" fmla="*/ 2424356 h 3932100"/>
              <a:gd name="connsiteX6" fmla="*/ 1167894 w 1986827"/>
              <a:gd name="connsiteY6" fmla="*/ 2415843 h 3932100"/>
              <a:gd name="connsiteX7" fmla="*/ 1966050 w 1986827"/>
              <a:gd name="connsiteY7" fmla="*/ 0 h 3932100"/>
              <a:gd name="connsiteX8" fmla="*/ 1967433 w 1986827"/>
              <a:gd name="connsiteY8" fmla="*/ 70 h 3932100"/>
              <a:gd name="connsiteX9" fmla="*/ 1967433 w 1986827"/>
              <a:gd name="connsiteY9" fmla="*/ 1049508 h 3932100"/>
              <a:gd name="connsiteX10" fmla="*/ 1966050 w 1986827"/>
              <a:gd name="connsiteY10" fmla="*/ 1049438 h 3932100"/>
              <a:gd name="connsiteX11" fmla="*/ 1049438 w 1986827"/>
              <a:gd name="connsiteY11" fmla="*/ 1966050 h 3932100"/>
              <a:gd name="connsiteX12" fmla="*/ 1061257 w 1986827"/>
              <a:gd name="connsiteY12" fmla="*/ 2106201 h 3932100"/>
              <a:gd name="connsiteX13" fmla="*/ 1055783 w 1986827"/>
              <a:gd name="connsiteY13" fmla="*/ 2073370 h 3932100"/>
              <a:gd name="connsiteX14" fmla="*/ 112926 w 1986827"/>
              <a:gd name="connsiteY14" fmla="*/ 2617730 h 3932100"/>
              <a:gd name="connsiteX15" fmla="*/ 0 w 1986827"/>
              <a:gd name="connsiteY15" fmla="*/ 1966050 h 3932100"/>
              <a:gd name="connsiteX16" fmla="*/ 1966050 w 1986827"/>
              <a:gd name="connsiteY16" fmla="*/ 0 h 3932100"/>
              <a:gd name="connsiteX0" fmla="*/ 1167894 w 1967433"/>
              <a:gd name="connsiteY0" fmla="*/ 2415843 h 2617729"/>
              <a:gd name="connsiteX1" fmla="*/ 1177509 w 1967433"/>
              <a:gd name="connsiteY1" fmla="*/ 2431670 h 2617729"/>
              <a:gd name="connsiteX2" fmla="*/ 1172242 w 1967433"/>
              <a:gd name="connsiteY2" fmla="*/ 2424356 h 2617729"/>
              <a:gd name="connsiteX3" fmla="*/ 1167894 w 1967433"/>
              <a:gd name="connsiteY3" fmla="*/ 2415843 h 2617729"/>
              <a:gd name="connsiteX4" fmla="*/ 1966050 w 1967433"/>
              <a:gd name="connsiteY4" fmla="*/ 0 h 2617729"/>
              <a:gd name="connsiteX5" fmla="*/ 1967433 w 1967433"/>
              <a:gd name="connsiteY5" fmla="*/ 70 h 2617729"/>
              <a:gd name="connsiteX6" fmla="*/ 1967433 w 1967433"/>
              <a:gd name="connsiteY6" fmla="*/ 1049508 h 2617729"/>
              <a:gd name="connsiteX7" fmla="*/ 1966050 w 1967433"/>
              <a:gd name="connsiteY7" fmla="*/ 1049438 h 2617729"/>
              <a:gd name="connsiteX8" fmla="*/ 1049438 w 1967433"/>
              <a:gd name="connsiteY8" fmla="*/ 1966050 h 2617729"/>
              <a:gd name="connsiteX9" fmla="*/ 1061257 w 1967433"/>
              <a:gd name="connsiteY9" fmla="*/ 2106201 h 2617729"/>
              <a:gd name="connsiteX10" fmla="*/ 1055783 w 1967433"/>
              <a:gd name="connsiteY10" fmla="*/ 2073370 h 2617729"/>
              <a:gd name="connsiteX11" fmla="*/ 112926 w 1967433"/>
              <a:gd name="connsiteY11" fmla="*/ 2617730 h 2617729"/>
              <a:gd name="connsiteX12" fmla="*/ 0 w 1967433"/>
              <a:gd name="connsiteY12" fmla="*/ 1966050 h 2617729"/>
              <a:gd name="connsiteX13" fmla="*/ 1966050 w 1967433"/>
              <a:gd name="connsiteY13" fmla="*/ 0 h 2617729"/>
              <a:gd name="connsiteX0" fmla="*/ 1172242 w 1967433"/>
              <a:gd name="connsiteY0" fmla="*/ 2424356 h 2617730"/>
              <a:gd name="connsiteX1" fmla="*/ 1177509 w 1967433"/>
              <a:gd name="connsiteY1" fmla="*/ 2431670 h 2617730"/>
              <a:gd name="connsiteX2" fmla="*/ 1172242 w 1967433"/>
              <a:gd name="connsiteY2" fmla="*/ 2424356 h 2617730"/>
              <a:gd name="connsiteX3" fmla="*/ 1966050 w 1967433"/>
              <a:gd name="connsiteY3" fmla="*/ 0 h 2617730"/>
              <a:gd name="connsiteX4" fmla="*/ 1967433 w 1967433"/>
              <a:gd name="connsiteY4" fmla="*/ 70 h 2617730"/>
              <a:gd name="connsiteX5" fmla="*/ 1967433 w 1967433"/>
              <a:gd name="connsiteY5" fmla="*/ 1049508 h 2617730"/>
              <a:gd name="connsiteX6" fmla="*/ 1966050 w 1967433"/>
              <a:gd name="connsiteY6" fmla="*/ 1049438 h 2617730"/>
              <a:gd name="connsiteX7" fmla="*/ 1049438 w 1967433"/>
              <a:gd name="connsiteY7" fmla="*/ 1966050 h 2617730"/>
              <a:gd name="connsiteX8" fmla="*/ 1061257 w 1967433"/>
              <a:gd name="connsiteY8" fmla="*/ 2106201 h 2617730"/>
              <a:gd name="connsiteX9" fmla="*/ 1055783 w 1967433"/>
              <a:gd name="connsiteY9" fmla="*/ 2073370 h 2617730"/>
              <a:gd name="connsiteX10" fmla="*/ 112926 w 1967433"/>
              <a:gd name="connsiteY10" fmla="*/ 2617730 h 2617730"/>
              <a:gd name="connsiteX11" fmla="*/ 0 w 1967433"/>
              <a:gd name="connsiteY11" fmla="*/ 1966050 h 2617730"/>
              <a:gd name="connsiteX12" fmla="*/ 1966050 w 1967433"/>
              <a:gd name="connsiteY12" fmla="*/ 0 h 2617730"/>
              <a:gd name="connsiteX0" fmla="*/ 1966050 w 1967433"/>
              <a:gd name="connsiteY0" fmla="*/ 0 h 2617730"/>
              <a:gd name="connsiteX1" fmla="*/ 1967433 w 1967433"/>
              <a:gd name="connsiteY1" fmla="*/ 70 h 2617730"/>
              <a:gd name="connsiteX2" fmla="*/ 1967433 w 1967433"/>
              <a:gd name="connsiteY2" fmla="*/ 1049508 h 2617730"/>
              <a:gd name="connsiteX3" fmla="*/ 1966050 w 1967433"/>
              <a:gd name="connsiteY3" fmla="*/ 1049438 h 2617730"/>
              <a:gd name="connsiteX4" fmla="*/ 1049438 w 1967433"/>
              <a:gd name="connsiteY4" fmla="*/ 1966050 h 2617730"/>
              <a:gd name="connsiteX5" fmla="*/ 1061257 w 1967433"/>
              <a:gd name="connsiteY5" fmla="*/ 2106201 h 2617730"/>
              <a:gd name="connsiteX6" fmla="*/ 1055783 w 1967433"/>
              <a:gd name="connsiteY6" fmla="*/ 2073370 h 2617730"/>
              <a:gd name="connsiteX7" fmla="*/ 112926 w 1967433"/>
              <a:gd name="connsiteY7" fmla="*/ 2617730 h 2617730"/>
              <a:gd name="connsiteX8" fmla="*/ 0 w 1967433"/>
              <a:gd name="connsiteY8" fmla="*/ 1966050 h 2617730"/>
              <a:gd name="connsiteX9" fmla="*/ 1966050 w 1967433"/>
              <a:gd name="connsiteY9" fmla="*/ 0 h 261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7433" h="2617730">
                <a:moveTo>
                  <a:pt x="1966050" y="0"/>
                </a:moveTo>
                <a:lnTo>
                  <a:pt x="1967433" y="70"/>
                </a:lnTo>
                <a:lnTo>
                  <a:pt x="1967433" y="1049508"/>
                </a:lnTo>
                <a:cubicBezTo>
                  <a:pt x="1966972" y="1049438"/>
                  <a:pt x="1966511" y="1049438"/>
                  <a:pt x="1966050" y="1049438"/>
                </a:cubicBezTo>
                <a:cubicBezTo>
                  <a:pt x="1459819" y="1049438"/>
                  <a:pt x="1049438" y="1459819"/>
                  <a:pt x="1049438" y="1966050"/>
                </a:cubicBezTo>
                <a:cubicBezTo>
                  <a:pt x="1049438" y="2013765"/>
                  <a:pt x="1053084" y="2060629"/>
                  <a:pt x="1061257" y="2106201"/>
                </a:cubicBezTo>
                <a:lnTo>
                  <a:pt x="1055783" y="2073370"/>
                </a:lnTo>
                <a:lnTo>
                  <a:pt x="112926" y="2617730"/>
                </a:lnTo>
                <a:cubicBezTo>
                  <a:pt x="39047" y="2414315"/>
                  <a:pt x="0" y="2194742"/>
                  <a:pt x="0" y="1966050"/>
                </a:cubicBezTo>
                <a:cubicBezTo>
                  <a:pt x="0" y="880231"/>
                  <a:pt x="880231" y="0"/>
                  <a:pt x="1966050"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0" name="icon GEARS"/>
          <p:cNvSpPr>
            <a:spLocks noEditPoints="1"/>
          </p:cNvSpPr>
          <p:nvPr/>
        </p:nvSpPr>
        <p:spPr bwMode="auto">
          <a:xfrm>
            <a:off x="4870893" y="3391999"/>
            <a:ext cx="655164" cy="547003"/>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tx1"/>
          </a:solidFill>
          <a:ln>
            <a:noFill/>
          </a:ln>
          <a:extLst/>
        </p:spPr>
        <p:txBody>
          <a:bodyPr/>
          <a:lstStyle/>
          <a:p>
            <a:pPr defTabSz="931684" fontAlgn="base">
              <a:spcBef>
                <a:spcPct val="0"/>
              </a:spcBef>
              <a:spcAft>
                <a:spcPct val="0"/>
              </a:spcAft>
            </a:pPr>
            <a:endParaRPr lang="en-US" sz="2000">
              <a:solidFill>
                <a:srgbClr val="000000"/>
              </a:solidFill>
              <a:ea typeface="MS PGothic" charset="0"/>
            </a:endParaRPr>
          </a:p>
        </p:txBody>
      </p:sp>
      <p:grpSp>
        <p:nvGrpSpPr>
          <p:cNvPr id="51" name="Group 50"/>
          <p:cNvGrpSpPr/>
          <p:nvPr/>
        </p:nvGrpSpPr>
        <p:grpSpPr>
          <a:xfrm>
            <a:off x="5692916" y="5089734"/>
            <a:ext cx="428404" cy="507510"/>
            <a:chOff x="4583208" y="4043392"/>
            <a:chExt cx="664910" cy="787691"/>
          </a:xfrm>
        </p:grpSpPr>
        <p:sp>
          <p:nvSpPr>
            <p:cNvPr id="52" name="Freeform 9"/>
            <p:cNvSpPr>
              <a:spLocks noEditPoints="1"/>
            </p:cNvSpPr>
            <p:nvPr/>
          </p:nvSpPr>
          <p:spPr bwMode="auto">
            <a:xfrm>
              <a:off x="4583208" y="4043392"/>
              <a:ext cx="664910" cy="787691"/>
            </a:xfrm>
            <a:custGeom>
              <a:avLst/>
              <a:gdLst>
                <a:gd name="T0" fmla="*/ 473133 w 2604"/>
                <a:gd name="T1" fmla="*/ 59369 h 3084"/>
                <a:gd name="T2" fmla="*/ 420184 w 2604"/>
                <a:gd name="T3" fmla="*/ 28361 h 3084"/>
                <a:gd name="T4" fmla="*/ 341707 w 2604"/>
                <a:gd name="T5" fmla="*/ 7563 h 3084"/>
                <a:gd name="T6" fmla="*/ 246778 w 2604"/>
                <a:gd name="T7" fmla="*/ 0 h 3084"/>
                <a:gd name="T8" fmla="*/ 246778 w 2604"/>
                <a:gd name="T9" fmla="*/ 0 h 3084"/>
                <a:gd name="T10" fmla="*/ 246778 w 2604"/>
                <a:gd name="T11" fmla="*/ 0 h 3084"/>
                <a:gd name="T12" fmla="*/ 246211 w 2604"/>
                <a:gd name="T13" fmla="*/ 0 h 3084"/>
                <a:gd name="T14" fmla="*/ 245643 w 2604"/>
                <a:gd name="T15" fmla="*/ 0 h 3084"/>
                <a:gd name="T16" fmla="*/ 245643 w 2604"/>
                <a:gd name="T17" fmla="*/ 0 h 3084"/>
                <a:gd name="T18" fmla="*/ 245643 w 2604"/>
                <a:gd name="T19" fmla="*/ 0 h 3084"/>
                <a:gd name="T20" fmla="*/ 150714 w 2604"/>
                <a:gd name="T21" fmla="*/ 7563 h 3084"/>
                <a:gd name="T22" fmla="*/ 72237 w 2604"/>
                <a:gd name="T23" fmla="*/ 28361 h 3084"/>
                <a:gd name="T24" fmla="*/ 19288 w 2604"/>
                <a:gd name="T25" fmla="*/ 59369 h 3084"/>
                <a:gd name="T26" fmla="*/ 0 w 2604"/>
                <a:gd name="T27" fmla="*/ 97183 h 3084"/>
                <a:gd name="T28" fmla="*/ 0 w 2604"/>
                <a:gd name="T29" fmla="*/ 485916 h 3084"/>
                <a:gd name="T30" fmla="*/ 4917 w 2604"/>
                <a:gd name="T31" fmla="*/ 505390 h 3084"/>
                <a:gd name="T32" fmla="*/ 19288 w 2604"/>
                <a:gd name="T33" fmla="*/ 523730 h 3084"/>
                <a:gd name="T34" fmla="*/ 72237 w 2604"/>
                <a:gd name="T35" fmla="*/ 554549 h 3084"/>
                <a:gd name="T36" fmla="*/ 245643 w 2604"/>
                <a:gd name="T37" fmla="*/ 583099 h 3084"/>
                <a:gd name="T38" fmla="*/ 245643 w 2604"/>
                <a:gd name="T39" fmla="*/ 583099 h 3084"/>
                <a:gd name="T40" fmla="*/ 245643 w 2604"/>
                <a:gd name="T41" fmla="*/ 583099 h 3084"/>
                <a:gd name="T42" fmla="*/ 246211 w 2604"/>
                <a:gd name="T43" fmla="*/ 583099 h 3084"/>
                <a:gd name="T44" fmla="*/ 246778 w 2604"/>
                <a:gd name="T45" fmla="*/ 583099 h 3084"/>
                <a:gd name="T46" fmla="*/ 246778 w 2604"/>
                <a:gd name="T47" fmla="*/ 583099 h 3084"/>
                <a:gd name="T48" fmla="*/ 246778 w 2604"/>
                <a:gd name="T49" fmla="*/ 583099 h 3084"/>
                <a:gd name="T50" fmla="*/ 420184 w 2604"/>
                <a:gd name="T51" fmla="*/ 554549 h 3084"/>
                <a:gd name="T52" fmla="*/ 473133 w 2604"/>
                <a:gd name="T53" fmla="*/ 523730 h 3084"/>
                <a:gd name="T54" fmla="*/ 487504 w 2604"/>
                <a:gd name="T55" fmla="*/ 505390 h 3084"/>
                <a:gd name="T56" fmla="*/ 492421 w 2604"/>
                <a:gd name="T57" fmla="*/ 485916 h 3084"/>
                <a:gd name="T58" fmla="*/ 492421 w 2604"/>
                <a:gd name="T59" fmla="*/ 97183 h 3084"/>
                <a:gd name="T60" fmla="*/ 473133 w 2604"/>
                <a:gd name="T61" fmla="*/ 59369 h 3084"/>
                <a:gd name="T62" fmla="*/ 246211 w 2604"/>
                <a:gd name="T63" fmla="*/ 145586 h 3084"/>
                <a:gd name="T64" fmla="*/ 43304 w 2604"/>
                <a:gd name="T65" fmla="*/ 87351 h 3084"/>
                <a:gd name="T66" fmla="*/ 246211 w 2604"/>
                <a:gd name="T67" fmla="*/ 29117 h 3084"/>
                <a:gd name="T68" fmla="*/ 449117 w 2604"/>
                <a:gd name="T69" fmla="*/ 87351 h 3084"/>
                <a:gd name="T70" fmla="*/ 246211 w 2604"/>
                <a:gd name="T71" fmla="*/ 145586 h 30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604" h="3084">
                  <a:moveTo>
                    <a:pt x="2502" y="314"/>
                  </a:moveTo>
                  <a:cubicBezTo>
                    <a:pt x="2436" y="252"/>
                    <a:pt x="2340" y="197"/>
                    <a:pt x="2222" y="150"/>
                  </a:cubicBezTo>
                  <a:cubicBezTo>
                    <a:pt x="2104" y="104"/>
                    <a:pt x="1963" y="66"/>
                    <a:pt x="1807" y="40"/>
                  </a:cubicBezTo>
                  <a:cubicBezTo>
                    <a:pt x="1652" y="14"/>
                    <a:pt x="1483" y="0"/>
                    <a:pt x="1305" y="0"/>
                  </a:cubicBezTo>
                  <a:cubicBezTo>
                    <a:pt x="1305" y="0"/>
                    <a:pt x="1305" y="0"/>
                    <a:pt x="1305" y="0"/>
                  </a:cubicBezTo>
                  <a:cubicBezTo>
                    <a:pt x="1305" y="0"/>
                    <a:pt x="1305" y="0"/>
                    <a:pt x="1305" y="0"/>
                  </a:cubicBezTo>
                  <a:cubicBezTo>
                    <a:pt x="1304" y="0"/>
                    <a:pt x="1303" y="0"/>
                    <a:pt x="1302" y="0"/>
                  </a:cubicBezTo>
                  <a:cubicBezTo>
                    <a:pt x="1301" y="0"/>
                    <a:pt x="1300" y="0"/>
                    <a:pt x="1299" y="0"/>
                  </a:cubicBezTo>
                  <a:cubicBezTo>
                    <a:pt x="1299" y="0"/>
                    <a:pt x="1299" y="0"/>
                    <a:pt x="1299" y="0"/>
                  </a:cubicBezTo>
                  <a:cubicBezTo>
                    <a:pt x="1299" y="0"/>
                    <a:pt x="1299" y="0"/>
                    <a:pt x="1299" y="0"/>
                  </a:cubicBezTo>
                  <a:cubicBezTo>
                    <a:pt x="1121" y="0"/>
                    <a:pt x="951" y="14"/>
                    <a:pt x="797" y="40"/>
                  </a:cubicBezTo>
                  <a:cubicBezTo>
                    <a:pt x="641" y="66"/>
                    <a:pt x="500" y="104"/>
                    <a:pt x="382" y="150"/>
                  </a:cubicBezTo>
                  <a:cubicBezTo>
                    <a:pt x="264" y="197"/>
                    <a:pt x="168" y="252"/>
                    <a:pt x="102" y="314"/>
                  </a:cubicBezTo>
                  <a:cubicBezTo>
                    <a:pt x="36" y="375"/>
                    <a:pt x="0" y="443"/>
                    <a:pt x="0" y="514"/>
                  </a:cubicBezTo>
                  <a:cubicBezTo>
                    <a:pt x="0" y="2570"/>
                    <a:pt x="0" y="2570"/>
                    <a:pt x="0" y="2570"/>
                  </a:cubicBezTo>
                  <a:cubicBezTo>
                    <a:pt x="0" y="2605"/>
                    <a:pt x="9" y="2640"/>
                    <a:pt x="26" y="2673"/>
                  </a:cubicBezTo>
                  <a:cubicBezTo>
                    <a:pt x="44" y="2707"/>
                    <a:pt x="69" y="2739"/>
                    <a:pt x="102" y="2770"/>
                  </a:cubicBezTo>
                  <a:cubicBezTo>
                    <a:pt x="168" y="2831"/>
                    <a:pt x="264" y="2887"/>
                    <a:pt x="382" y="2933"/>
                  </a:cubicBezTo>
                  <a:cubicBezTo>
                    <a:pt x="617" y="3026"/>
                    <a:pt x="941" y="3083"/>
                    <a:pt x="1299" y="3084"/>
                  </a:cubicBezTo>
                  <a:cubicBezTo>
                    <a:pt x="1299" y="3084"/>
                    <a:pt x="1299" y="3084"/>
                    <a:pt x="1299" y="3084"/>
                  </a:cubicBezTo>
                  <a:cubicBezTo>
                    <a:pt x="1299" y="3084"/>
                    <a:pt x="1299" y="3084"/>
                    <a:pt x="1299" y="3084"/>
                  </a:cubicBezTo>
                  <a:cubicBezTo>
                    <a:pt x="1300" y="3084"/>
                    <a:pt x="1301" y="3084"/>
                    <a:pt x="1302" y="3084"/>
                  </a:cubicBezTo>
                  <a:cubicBezTo>
                    <a:pt x="1303" y="3084"/>
                    <a:pt x="1304" y="3084"/>
                    <a:pt x="1305" y="3084"/>
                  </a:cubicBezTo>
                  <a:cubicBezTo>
                    <a:pt x="1305" y="3084"/>
                    <a:pt x="1305" y="3084"/>
                    <a:pt x="1305" y="3084"/>
                  </a:cubicBezTo>
                  <a:cubicBezTo>
                    <a:pt x="1305" y="3084"/>
                    <a:pt x="1305" y="3084"/>
                    <a:pt x="1305" y="3084"/>
                  </a:cubicBezTo>
                  <a:cubicBezTo>
                    <a:pt x="1663" y="3083"/>
                    <a:pt x="1987" y="3026"/>
                    <a:pt x="2222" y="2933"/>
                  </a:cubicBezTo>
                  <a:cubicBezTo>
                    <a:pt x="2340" y="2887"/>
                    <a:pt x="2436" y="2831"/>
                    <a:pt x="2502" y="2770"/>
                  </a:cubicBezTo>
                  <a:cubicBezTo>
                    <a:pt x="2535" y="2739"/>
                    <a:pt x="2560" y="2707"/>
                    <a:pt x="2578" y="2673"/>
                  </a:cubicBezTo>
                  <a:cubicBezTo>
                    <a:pt x="2595" y="2640"/>
                    <a:pt x="2604" y="2605"/>
                    <a:pt x="2604" y="2570"/>
                  </a:cubicBezTo>
                  <a:cubicBezTo>
                    <a:pt x="2604" y="514"/>
                    <a:pt x="2604" y="514"/>
                    <a:pt x="2604" y="514"/>
                  </a:cubicBezTo>
                  <a:cubicBezTo>
                    <a:pt x="2604" y="443"/>
                    <a:pt x="2568" y="375"/>
                    <a:pt x="2502" y="314"/>
                  </a:cubicBezTo>
                  <a:close/>
                  <a:moveTo>
                    <a:pt x="1302" y="770"/>
                  </a:moveTo>
                  <a:cubicBezTo>
                    <a:pt x="708" y="769"/>
                    <a:pt x="229" y="631"/>
                    <a:pt x="229" y="462"/>
                  </a:cubicBezTo>
                  <a:cubicBezTo>
                    <a:pt x="229" y="293"/>
                    <a:pt x="708" y="155"/>
                    <a:pt x="1302" y="154"/>
                  </a:cubicBezTo>
                  <a:cubicBezTo>
                    <a:pt x="1896" y="155"/>
                    <a:pt x="2375" y="293"/>
                    <a:pt x="2375" y="462"/>
                  </a:cubicBezTo>
                  <a:cubicBezTo>
                    <a:pt x="2375" y="631"/>
                    <a:pt x="1896" y="769"/>
                    <a:pt x="1302" y="770"/>
                  </a:cubicBezTo>
                  <a:close/>
                </a:path>
              </a:pathLst>
            </a:custGeom>
            <a:solidFill>
              <a:schemeClr val="tx1"/>
            </a:solidFill>
            <a:ln>
              <a:noFill/>
            </a:ln>
            <a:extLst/>
          </p:spPr>
          <p:txBody>
            <a:bodyPr lIns="91414" tIns="45706" rIns="91414" bIns="45706"/>
            <a:lstStyle/>
            <a:p>
              <a:pPr defTabSz="931684" fontAlgn="base">
                <a:spcBef>
                  <a:spcPct val="0"/>
                </a:spcBef>
                <a:spcAft>
                  <a:spcPct val="0"/>
                </a:spcAft>
              </a:pPr>
              <a:endParaRPr lang="en-US" sz="2000">
                <a:solidFill>
                  <a:srgbClr val="000000"/>
                </a:solidFill>
                <a:ea typeface="MS PGothic" charset="0"/>
              </a:endParaRPr>
            </a:p>
          </p:txBody>
        </p:sp>
        <p:sp>
          <p:nvSpPr>
            <p:cNvPr id="53" name="icon  BINARY"/>
            <p:cNvSpPr>
              <a:spLocks noEditPoints="1"/>
            </p:cNvSpPr>
            <p:nvPr/>
          </p:nvSpPr>
          <p:spPr bwMode="auto">
            <a:xfrm>
              <a:off x="4698332" y="4352247"/>
              <a:ext cx="400361" cy="328644"/>
            </a:xfrm>
            <a:custGeom>
              <a:avLst/>
              <a:gdLst>
                <a:gd name="T0" fmla="*/ 2147483647 w 275"/>
                <a:gd name="T1" fmla="*/ 2147483647 h 226"/>
                <a:gd name="T2" fmla="*/ 2147483647 w 275"/>
                <a:gd name="T3" fmla="*/ 0 h 226"/>
                <a:gd name="T4" fmla="*/ 2147483647 w 275"/>
                <a:gd name="T5" fmla="*/ 2147483647 h 226"/>
                <a:gd name="T6" fmla="*/ 2147483647 w 275"/>
                <a:gd name="T7" fmla="*/ 2147483647 h 226"/>
                <a:gd name="T8" fmla="*/ 2147483647 w 275"/>
                <a:gd name="T9" fmla="*/ 2147483647 h 226"/>
                <a:gd name="T10" fmla="*/ 2147483647 w 275"/>
                <a:gd name="T11" fmla="*/ 2147483647 h 226"/>
                <a:gd name="T12" fmla="*/ 2147483647 w 275"/>
                <a:gd name="T13" fmla="*/ 2147483647 h 226"/>
                <a:gd name="T14" fmla="*/ 2147483647 w 275"/>
                <a:gd name="T15" fmla="*/ 2147483647 h 226"/>
                <a:gd name="T16" fmla="*/ 2147483647 w 275"/>
                <a:gd name="T17" fmla="*/ 2147483647 h 226"/>
                <a:gd name="T18" fmla="*/ 2147483647 w 275"/>
                <a:gd name="T19" fmla="*/ 2147483647 h 226"/>
                <a:gd name="T20" fmla="*/ 2147483647 w 275"/>
                <a:gd name="T21" fmla="*/ 2147483647 h 226"/>
                <a:gd name="T22" fmla="*/ 2147483647 w 275"/>
                <a:gd name="T23" fmla="*/ 2147483647 h 226"/>
                <a:gd name="T24" fmla="*/ 2147483647 w 275"/>
                <a:gd name="T25" fmla="*/ 2147483647 h 226"/>
                <a:gd name="T26" fmla="*/ 2147483647 w 275"/>
                <a:gd name="T27" fmla="*/ 2147483647 h 226"/>
                <a:gd name="T28" fmla="*/ 2147483647 w 275"/>
                <a:gd name="T29" fmla="*/ 2147483647 h 226"/>
                <a:gd name="T30" fmla="*/ 2147483647 w 275"/>
                <a:gd name="T31" fmla="*/ 2147483647 h 226"/>
                <a:gd name="T32" fmla="*/ 2147483647 w 275"/>
                <a:gd name="T33" fmla="*/ 2147483647 h 226"/>
                <a:gd name="T34" fmla="*/ 2147483647 w 275"/>
                <a:gd name="T35" fmla="*/ 2147483647 h 226"/>
                <a:gd name="T36" fmla="*/ 2147483647 w 275"/>
                <a:gd name="T37" fmla="*/ 2147483647 h 226"/>
                <a:gd name="T38" fmla="*/ 0 w 275"/>
                <a:gd name="T39" fmla="*/ 2147483647 h 226"/>
                <a:gd name="T40" fmla="*/ 2147483647 w 275"/>
                <a:gd name="T41" fmla="*/ 2147483647 h 226"/>
                <a:gd name="T42" fmla="*/ 2147483647 w 275"/>
                <a:gd name="T43" fmla="*/ 2147483647 h 226"/>
                <a:gd name="T44" fmla="*/ 2147483647 w 275"/>
                <a:gd name="T45" fmla="*/ 2147483647 h 226"/>
                <a:gd name="T46" fmla="*/ 2147483647 w 275"/>
                <a:gd name="T47" fmla="*/ 2147483647 h 226"/>
                <a:gd name="T48" fmla="*/ 2147483647 w 275"/>
                <a:gd name="T49" fmla="*/ 2147483647 h 226"/>
                <a:gd name="T50" fmla="*/ 2147483647 w 275"/>
                <a:gd name="T51" fmla="*/ 2147483647 h 226"/>
                <a:gd name="T52" fmla="*/ 2147483647 w 275"/>
                <a:gd name="T53" fmla="*/ 2147483647 h 226"/>
                <a:gd name="T54" fmla="*/ 2147483647 w 275"/>
                <a:gd name="T55" fmla="*/ 2147483647 h 226"/>
                <a:gd name="T56" fmla="*/ 2147483647 w 275"/>
                <a:gd name="T57" fmla="*/ 2147483647 h 226"/>
                <a:gd name="T58" fmla="*/ 2147483647 w 275"/>
                <a:gd name="T59" fmla="*/ 2147483647 h 226"/>
                <a:gd name="T60" fmla="*/ 2147483647 w 275"/>
                <a:gd name="T61" fmla="*/ 2147483647 h 226"/>
                <a:gd name="T62" fmla="*/ 2147483647 w 275"/>
                <a:gd name="T63" fmla="*/ 2147483647 h 226"/>
                <a:gd name="T64" fmla="*/ 2147483647 w 275"/>
                <a:gd name="T65" fmla="*/ 2147483647 h 226"/>
                <a:gd name="T66" fmla="*/ 2147483647 w 275"/>
                <a:gd name="T67" fmla="*/ 2147483647 h 226"/>
                <a:gd name="T68" fmla="*/ 2147483647 w 275"/>
                <a:gd name="T69" fmla="*/ 2147483647 h 226"/>
                <a:gd name="T70" fmla="*/ 2147483647 w 275"/>
                <a:gd name="T71" fmla="*/ 2147483647 h 226"/>
                <a:gd name="T72" fmla="*/ 2147483647 w 275"/>
                <a:gd name="T73" fmla="*/ 2147483647 h 226"/>
                <a:gd name="T74" fmla="*/ 2147483647 w 275"/>
                <a:gd name="T75" fmla="*/ 2147483647 h 226"/>
                <a:gd name="T76" fmla="*/ 2147483647 w 275"/>
                <a:gd name="T77" fmla="*/ 2147483647 h 226"/>
                <a:gd name="T78" fmla="*/ 2147483647 w 275"/>
                <a:gd name="T79" fmla="*/ 2147483647 h 226"/>
                <a:gd name="T80" fmla="*/ 2147483647 w 275"/>
                <a:gd name="T81" fmla="*/ 2147483647 h 226"/>
                <a:gd name="T82" fmla="*/ 2147483647 w 275"/>
                <a:gd name="T83" fmla="*/ 2147483647 h 226"/>
                <a:gd name="T84" fmla="*/ 2147483647 w 275"/>
                <a:gd name="T85" fmla="*/ 2147483647 h 226"/>
                <a:gd name="T86" fmla="*/ 2147483647 w 275"/>
                <a:gd name="T87" fmla="*/ 2147483647 h 226"/>
                <a:gd name="T88" fmla="*/ 2147483647 w 275"/>
                <a:gd name="T89" fmla="*/ 2147483647 h 226"/>
                <a:gd name="T90" fmla="*/ 2147483647 w 275"/>
                <a:gd name="T91" fmla="*/ 2147483647 h 226"/>
                <a:gd name="T92" fmla="*/ 2147483647 w 275"/>
                <a:gd name="T93" fmla="*/ 2147483647 h 226"/>
                <a:gd name="T94" fmla="*/ 2147483647 w 275"/>
                <a:gd name="T95" fmla="*/ 2147483647 h 226"/>
                <a:gd name="T96" fmla="*/ 2147483647 w 275"/>
                <a:gd name="T97" fmla="*/ 2147483647 h 226"/>
                <a:gd name="T98" fmla="*/ 2147483647 w 275"/>
                <a:gd name="T99" fmla="*/ 2147483647 h 226"/>
                <a:gd name="T100" fmla="*/ 2147483647 w 275"/>
                <a:gd name="T101" fmla="*/ 2147483647 h 226"/>
                <a:gd name="T102" fmla="*/ 2147483647 w 275"/>
                <a:gd name="T103" fmla="*/ 2147483647 h 226"/>
                <a:gd name="T104" fmla="*/ 2147483647 w 275"/>
                <a:gd name="T105" fmla="*/ 2147483647 h 226"/>
                <a:gd name="T106" fmla="*/ 2147483647 w 275"/>
                <a:gd name="T107" fmla="*/ 2147483647 h 226"/>
                <a:gd name="T108" fmla="*/ 2147483647 w 275"/>
                <a:gd name="T109" fmla="*/ 2147483647 h 226"/>
                <a:gd name="T110" fmla="*/ 2147483647 w 275"/>
                <a:gd name="T111" fmla="*/ 2147483647 h 226"/>
                <a:gd name="T112" fmla="*/ 2147483647 w 275"/>
                <a:gd name="T113" fmla="*/ 2147483647 h 226"/>
                <a:gd name="T114" fmla="*/ 2147483647 w 275"/>
                <a:gd name="T115" fmla="*/ 2147483647 h 2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1673C3"/>
            </a:solidFill>
            <a:ln>
              <a:noFill/>
            </a:ln>
            <a:extLst/>
          </p:spPr>
          <p:txBody>
            <a:bodyPr/>
            <a:lstStyle/>
            <a:p>
              <a:pPr defTabSz="931684" fontAlgn="base">
                <a:spcBef>
                  <a:spcPct val="0"/>
                </a:spcBef>
                <a:spcAft>
                  <a:spcPct val="0"/>
                </a:spcAft>
              </a:pPr>
              <a:endParaRPr lang="en-US" sz="2000">
                <a:solidFill>
                  <a:srgbClr val="0072C6"/>
                </a:solidFill>
                <a:ea typeface="MS PGothic" charset="0"/>
              </a:endParaRPr>
            </a:p>
          </p:txBody>
        </p:sp>
      </p:grpSp>
      <p:sp>
        <p:nvSpPr>
          <p:cNvPr id="56" name="Freeform 48"/>
          <p:cNvSpPr>
            <a:spLocks/>
          </p:cNvSpPr>
          <p:nvPr/>
        </p:nvSpPr>
        <p:spPr bwMode="black">
          <a:xfrm>
            <a:off x="6960255" y="3279562"/>
            <a:ext cx="530602" cy="453113"/>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a:solidFill>
                <a:srgbClr val="000000"/>
              </a:solidFill>
              <a:ea typeface="MS PGothic" charset="0"/>
            </a:endParaRPr>
          </a:p>
        </p:txBody>
      </p:sp>
      <p:sp>
        <p:nvSpPr>
          <p:cNvPr id="57" name="Rectangle 56"/>
          <p:cNvSpPr/>
          <p:nvPr/>
        </p:nvSpPr>
        <p:spPr>
          <a:xfrm>
            <a:off x="5266933" y="2805619"/>
            <a:ext cx="1148656" cy="489428"/>
          </a:xfrm>
          <a:prstGeom prst="rect">
            <a:avLst/>
          </a:prstGeom>
        </p:spPr>
        <p:txBody>
          <a:bodyPr wrap="square">
            <a:spAutoFit/>
          </a:bodyPr>
          <a:lstStyle/>
          <a:p>
            <a:pPr defTabSz="931684" fontAlgn="base">
              <a:lnSpc>
                <a:spcPct val="90000"/>
              </a:lnSpc>
              <a:spcBef>
                <a:spcPct val="0"/>
              </a:spcBef>
              <a:defRPr/>
            </a:pPr>
            <a:r>
              <a:rPr lang="en-US" sz="1399" dirty="0">
                <a:solidFill>
                  <a:srgbClr val="FFFFFF"/>
                </a:solidFill>
                <a:ea typeface="MS PGothic" panose="020B0600070205080204" pitchFamily="34" charset="-128"/>
              </a:rPr>
              <a:t>Transform</a:t>
            </a:r>
          </a:p>
          <a:p>
            <a:pPr defTabSz="931684" fontAlgn="base">
              <a:lnSpc>
                <a:spcPct val="90000"/>
              </a:lnSpc>
              <a:spcBef>
                <a:spcPct val="0"/>
              </a:spcBef>
              <a:defRPr/>
            </a:pPr>
            <a:r>
              <a:rPr lang="en-US" sz="1399" dirty="0">
                <a:solidFill>
                  <a:srgbClr val="FFFFFF"/>
                </a:solidFill>
                <a:ea typeface="MS PGothic" panose="020B0600070205080204" pitchFamily="34" charset="-128"/>
              </a:rPr>
              <a:t>+ analyze</a:t>
            </a:r>
          </a:p>
        </p:txBody>
      </p:sp>
      <p:sp>
        <p:nvSpPr>
          <p:cNvPr id="58" name="Rectangle 57"/>
          <p:cNvSpPr/>
          <p:nvPr/>
        </p:nvSpPr>
        <p:spPr>
          <a:xfrm>
            <a:off x="6708711" y="3864154"/>
            <a:ext cx="1148656" cy="489428"/>
          </a:xfrm>
          <a:prstGeom prst="rect">
            <a:avLst/>
          </a:prstGeom>
        </p:spPr>
        <p:txBody>
          <a:bodyPr wrap="square">
            <a:spAutoFit/>
          </a:bodyPr>
          <a:lstStyle/>
          <a:p>
            <a:pPr algn="r" defTabSz="931684" fontAlgn="base">
              <a:lnSpc>
                <a:spcPct val="90000"/>
              </a:lnSpc>
              <a:spcBef>
                <a:spcPct val="0"/>
              </a:spcBef>
              <a:defRPr/>
            </a:pPr>
            <a:r>
              <a:rPr lang="en-US" sz="1399" dirty="0">
                <a:solidFill>
                  <a:srgbClr val="FFFFFF"/>
                </a:solidFill>
                <a:ea typeface="MS PGothic" panose="020B0600070205080204" pitchFamily="34" charset="-128"/>
              </a:rPr>
              <a:t>Visualize</a:t>
            </a:r>
          </a:p>
          <a:p>
            <a:pPr algn="r" defTabSz="931684" fontAlgn="base">
              <a:lnSpc>
                <a:spcPct val="90000"/>
              </a:lnSpc>
              <a:spcBef>
                <a:spcPct val="0"/>
              </a:spcBef>
              <a:defRPr/>
            </a:pPr>
            <a:r>
              <a:rPr lang="en-US" sz="1399" dirty="0">
                <a:solidFill>
                  <a:srgbClr val="FFFFFF"/>
                </a:solidFill>
                <a:ea typeface="MS PGothic" panose="020B0600070205080204" pitchFamily="34" charset="-128"/>
              </a:rPr>
              <a:t>+ decide</a:t>
            </a:r>
          </a:p>
        </p:txBody>
      </p:sp>
      <p:sp>
        <p:nvSpPr>
          <p:cNvPr id="59" name="Rectangle 58"/>
          <p:cNvSpPr/>
          <p:nvPr/>
        </p:nvSpPr>
        <p:spPr>
          <a:xfrm>
            <a:off x="6150684" y="5069378"/>
            <a:ext cx="1148656" cy="489428"/>
          </a:xfrm>
          <a:prstGeom prst="rect">
            <a:avLst/>
          </a:prstGeom>
        </p:spPr>
        <p:txBody>
          <a:bodyPr wrap="square">
            <a:spAutoFit/>
          </a:bodyPr>
          <a:lstStyle/>
          <a:p>
            <a:pPr defTabSz="931684" fontAlgn="base">
              <a:lnSpc>
                <a:spcPct val="90000"/>
              </a:lnSpc>
              <a:spcBef>
                <a:spcPct val="0"/>
              </a:spcBef>
              <a:defRPr/>
            </a:pPr>
            <a:r>
              <a:rPr lang="en-US" sz="1399" dirty="0">
                <a:solidFill>
                  <a:srgbClr val="FFFFFF"/>
                </a:solidFill>
                <a:ea typeface="MS PGothic" panose="020B0600070205080204" pitchFamily="34" charset="-128"/>
              </a:rPr>
              <a:t>Collect </a:t>
            </a:r>
            <a:br>
              <a:rPr lang="en-US" sz="1399" dirty="0">
                <a:solidFill>
                  <a:srgbClr val="FFFFFF"/>
                </a:solidFill>
                <a:ea typeface="MS PGothic" panose="020B0600070205080204" pitchFamily="34" charset="-128"/>
              </a:rPr>
            </a:br>
            <a:r>
              <a:rPr lang="en-US" sz="1399" dirty="0">
                <a:solidFill>
                  <a:srgbClr val="FFFFFF"/>
                </a:solidFill>
                <a:ea typeface="MS PGothic" panose="020B0600070205080204" pitchFamily="34" charset="-128"/>
              </a:rPr>
              <a:t>+ manage</a:t>
            </a:r>
          </a:p>
        </p:txBody>
      </p:sp>
      <p:sp>
        <p:nvSpPr>
          <p:cNvPr id="60" name="Oval 59"/>
          <p:cNvSpPr/>
          <p:nvPr/>
        </p:nvSpPr>
        <p:spPr bwMode="auto">
          <a:xfrm>
            <a:off x="5421758" y="3388344"/>
            <a:ext cx="1598265" cy="1598265"/>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nvGrpSpPr>
          <p:cNvPr id="61" name="Group 60"/>
          <p:cNvGrpSpPr/>
          <p:nvPr/>
        </p:nvGrpSpPr>
        <p:grpSpPr>
          <a:xfrm>
            <a:off x="5606914" y="3494993"/>
            <a:ext cx="1237860" cy="1397975"/>
            <a:chOff x="5005641" y="3539385"/>
            <a:chExt cx="1221568" cy="1379577"/>
          </a:xfrm>
        </p:grpSpPr>
        <p:sp>
          <p:nvSpPr>
            <p:cNvPr id="62" name="Isosceles Triangle 60"/>
            <p:cNvSpPr/>
            <p:nvPr/>
          </p:nvSpPr>
          <p:spPr bwMode="auto">
            <a:xfrm rot="16200000">
              <a:off x="4926636" y="3618390"/>
              <a:ext cx="1379577" cy="1221568"/>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Light"/>
                <a:ea typeface="Segoe UI" pitchFamily="34" charset="0"/>
                <a:cs typeface="Segoe UI" pitchFamily="34" charset="0"/>
              </a:endParaRPr>
            </a:p>
          </p:txBody>
        </p:sp>
        <p:sp>
          <p:nvSpPr>
            <p:cNvPr id="63" name="TextBox 62"/>
            <p:cNvSpPr txBox="1"/>
            <p:nvPr/>
          </p:nvSpPr>
          <p:spPr>
            <a:xfrm>
              <a:off x="5179557" y="4089377"/>
              <a:ext cx="867328" cy="319067"/>
            </a:xfrm>
            <a:prstGeom prst="rect">
              <a:avLst/>
            </a:prstGeom>
            <a:noFill/>
          </p:spPr>
          <p:txBody>
            <a:bodyPr lIns="182854" tIns="146283" rIns="182854" bIns="146283" anchor="ctr"/>
            <a:lstStyle/>
            <a:p>
              <a:pPr algn="ctr" defTabSz="931684" fontAlgn="base">
                <a:lnSpc>
                  <a:spcPct val="90000"/>
                </a:lnSpc>
                <a:spcBef>
                  <a:spcPct val="0"/>
                </a:spcBef>
                <a:defRPr/>
              </a:pPr>
              <a:r>
                <a:rPr lang="en-US" sz="2000" dirty="0">
                  <a:latin typeface="Segoe UI Light"/>
                  <a:ea typeface="MS PGothic" panose="020B0600070205080204" pitchFamily="34" charset="-128"/>
                </a:rPr>
                <a:t>Data</a:t>
              </a:r>
            </a:p>
          </p:txBody>
        </p:sp>
      </p:grpSp>
      <p:sp>
        <p:nvSpPr>
          <p:cNvPr id="64" name="Chevron 63"/>
          <p:cNvSpPr/>
          <p:nvPr/>
        </p:nvSpPr>
        <p:spPr bwMode="auto">
          <a:xfrm>
            <a:off x="3064005" y="6125964"/>
            <a:ext cx="6308464" cy="425850"/>
          </a:xfrm>
          <a:prstGeom prst="chevron">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1684" fontAlgn="base">
              <a:spcBef>
                <a:spcPct val="0"/>
              </a:spcBef>
              <a:spcAft>
                <a:spcPct val="0"/>
              </a:spcAft>
            </a:pPr>
            <a:r>
              <a:rPr lang="en-US">
                <a:solidFill>
                  <a:srgbClr val="FFFFFF"/>
                </a:solidFill>
                <a:latin typeface="Segoe UI Light"/>
              </a:rPr>
              <a:t>Microsoft data platform</a:t>
            </a:r>
            <a:endParaRPr lang="en-US" dirty="0">
              <a:solidFill>
                <a:srgbClr val="FFFFFF"/>
              </a:solidFill>
              <a:latin typeface="Segoe UI Light"/>
            </a:endParaRPr>
          </a:p>
        </p:txBody>
      </p:sp>
    </p:spTree>
    <p:extLst>
      <p:ext uri="{BB962C8B-B14F-4D97-AF65-F5344CB8AC3E}">
        <p14:creationId xmlns:p14="http://schemas.microsoft.com/office/powerpoint/2010/main" val="349112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par>
                                <p:cTn id="8" presetID="10" presetClass="entr" presetSubtype="0" fill="hold" nodeType="withEffect">
                                  <p:stCondLst>
                                    <p:cond delay="1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50"/>
                                        <p:tgtEl>
                                          <p:spTgt spid="9"/>
                                        </p:tgtEl>
                                      </p:cBhvr>
                                    </p:animEffect>
                                  </p:childTnLst>
                                </p:cTn>
                              </p:par>
                              <p:par>
                                <p:cTn id="11" presetID="63" presetClass="path" presetSubtype="0" accel="50000" decel="50000" autoRev="1" fill="hold" nodeType="withEffect">
                                  <p:stCondLst>
                                    <p:cond delay="0"/>
                                  </p:stCondLst>
                                  <p:childTnLst>
                                    <p:animMotion origin="layout" path="M -4.06433E-6 -2.35134E-6 L 0.25645 -2.35134E-6 " pathEditMode="relative" rAng="0" ptsTypes="AA">
                                      <p:cBhvr>
                                        <p:cTn id="12" dur="1500" fill="hold"/>
                                        <p:tgtEl>
                                          <p:spTgt spid="6"/>
                                        </p:tgtEl>
                                        <p:attrNameLst>
                                          <p:attrName>ppt_x</p:attrName>
                                          <p:attrName>ppt_y</p:attrName>
                                        </p:attrNameLst>
                                      </p:cBhvr>
                                      <p:rCtr x="12816" y="0"/>
                                    </p:animMotion>
                                  </p:childTnLst>
                                </p:cTn>
                              </p:par>
                              <p:par>
                                <p:cTn id="13" presetID="35" presetClass="path" presetSubtype="0" accel="50000" decel="50000" autoRev="1" fill="hold" nodeType="withEffect">
                                  <p:stCondLst>
                                    <p:cond delay="0"/>
                                  </p:stCondLst>
                                  <p:childTnLst>
                                    <p:animMotion origin="layout" path="M 1.71305E-6 -2.35134E-6 L -0.25734 -2.35134E-6 " pathEditMode="relative" rAng="0" ptsTypes="AA">
                                      <p:cBhvr>
                                        <p:cTn id="14" dur="1500" fill="hold"/>
                                        <p:tgtEl>
                                          <p:spTgt spid="9"/>
                                        </p:tgtEl>
                                        <p:attrNameLst>
                                          <p:attrName>ppt_x</p:attrName>
                                          <p:attrName>ppt_y</p:attrName>
                                        </p:attrNameLst>
                                      </p:cBhvr>
                                      <p:rCtr x="-12867" y="0"/>
                                    </p:animMotion>
                                  </p:childTnLst>
                                </p:cTn>
                              </p:par>
                              <p:par>
                                <p:cTn id="15" presetID="53" presetClass="entr" presetSubtype="528" fill="hold" grpId="1" nodeType="withEffect">
                                  <p:stCondLst>
                                    <p:cond delay="2000"/>
                                  </p:stCondLst>
                                  <p:childTnLst>
                                    <p:set>
                                      <p:cBhvr>
                                        <p:cTn id="16" dur="1" fill="hold">
                                          <p:stCondLst>
                                            <p:cond delay="0"/>
                                          </p:stCondLst>
                                        </p:cTn>
                                        <p:tgtEl>
                                          <p:spTgt spid="46"/>
                                        </p:tgtEl>
                                        <p:attrNameLst>
                                          <p:attrName>style.visibility</p:attrName>
                                        </p:attrNameLst>
                                      </p:cBhvr>
                                      <p:to>
                                        <p:strVal val="visible"/>
                                      </p:to>
                                    </p:set>
                                    <p:anim calcmode="lin" valueType="num">
                                      <p:cBhvr>
                                        <p:cTn id="17" dur="1000" fill="hold"/>
                                        <p:tgtEl>
                                          <p:spTgt spid="46"/>
                                        </p:tgtEl>
                                        <p:attrNameLst>
                                          <p:attrName>ppt_w</p:attrName>
                                        </p:attrNameLst>
                                      </p:cBhvr>
                                      <p:tavLst>
                                        <p:tav tm="0">
                                          <p:val>
                                            <p:fltVal val="0"/>
                                          </p:val>
                                        </p:tav>
                                        <p:tav tm="100000">
                                          <p:val>
                                            <p:strVal val="#ppt_w"/>
                                          </p:val>
                                        </p:tav>
                                      </p:tavLst>
                                    </p:anim>
                                    <p:anim calcmode="lin" valueType="num">
                                      <p:cBhvr>
                                        <p:cTn id="18" dur="1000" fill="hold"/>
                                        <p:tgtEl>
                                          <p:spTgt spid="46"/>
                                        </p:tgtEl>
                                        <p:attrNameLst>
                                          <p:attrName>ppt_h</p:attrName>
                                        </p:attrNameLst>
                                      </p:cBhvr>
                                      <p:tavLst>
                                        <p:tav tm="0">
                                          <p:val>
                                            <p:fltVal val="0"/>
                                          </p:val>
                                        </p:tav>
                                        <p:tav tm="100000">
                                          <p:val>
                                            <p:strVal val="#ppt_h"/>
                                          </p:val>
                                        </p:tav>
                                      </p:tavLst>
                                    </p:anim>
                                    <p:animEffect transition="in" filter="fade">
                                      <p:cBhvr>
                                        <p:cTn id="19" dur="1000"/>
                                        <p:tgtEl>
                                          <p:spTgt spid="46"/>
                                        </p:tgtEl>
                                      </p:cBhvr>
                                    </p:animEffect>
                                    <p:anim calcmode="lin" valueType="num">
                                      <p:cBhvr>
                                        <p:cTn id="20" dur="1000" fill="hold"/>
                                        <p:tgtEl>
                                          <p:spTgt spid="46"/>
                                        </p:tgtEl>
                                        <p:attrNameLst>
                                          <p:attrName>ppt_x</p:attrName>
                                        </p:attrNameLst>
                                      </p:cBhvr>
                                      <p:tavLst>
                                        <p:tav tm="0">
                                          <p:val>
                                            <p:fltVal val="0.5"/>
                                          </p:val>
                                        </p:tav>
                                        <p:tav tm="100000">
                                          <p:val>
                                            <p:strVal val="#ppt_x"/>
                                          </p:val>
                                        </p:tav>
                                      </p:tavLst>
                                    </p:anim>
                                    <p:anim calcmode="lin" valueType="num">
                                      <p:cBhvr>
                                        <p:cTn id="21" dur="1000" fill="hold"/>
                                        <p:tgtEl>
                                          <p:spTgt spid="46"/>
                                        </p:tgtEl>
                                        <p:attrNameLst>
                                          <p:attrName>ppt_y</p:attrName>
                                        </p:attrNameLst>
                                      </p:cBhvr>
                                      <p:tavLst>
                                        <p:tav tm="0">
                                          <p:val>
                                            <p:fltVal val="0.5"/>
                                          </p:val>
                                        </p:tav>
                                        <p:tav tm="100000">
                                          <p:val>
                                            <p:strVal val="#ppt_y"/>
                                          </p:val>
                                        </p:tav>
                                      </p:tavLst>
                                    </p:anim>
                                  </p:childTnLst>
                                </p:cTn>
                              </p:par>
                              <p:par>
                                <p:cTn id="22" presetID="53" presetClass="entr" presetSubtype="528" fill="hold" grpId="0" nodeType="withEffect">
                                  <p:stCondLst>
                                    <p:cond delay="2000"/>
                                  </p:stCondLst>
                                  <p:childTnLst>
                                    <p:set>
                                      <p:cBhvr>
                                        <p:cTn id="23" dur="1" fill="hold">
                                          <p:stCondLst>
                                            <p:cond delay="0"/>
                                          </p:stCondLst>
                                        </p:cTn>
                                        <p:tgtEl>
                                          <p:spTgt spid="48"/>
                                        </p:tgtEl>
                                        <p:attrNameLst>
                                          <p:attrName>style.visibility</p:attrName>
                                        </p:attrNameLst>
                                      </p:cBhvr>
                                      <p:to>
                                        <p:strVal val="visible"/>
                                      </p:to>
                                    </p:set>
                                    <p:anim calcmode="lin" valueType="num">
                                      <p:cBhvr>
                                        <p:cTn id="24" dur="1000" fill="hold"/>
                                        <p:tgtEl>
                                          <p:spTgt spid="48"/>
                                        </p:tgtEl>
                                        <p:attrNameLst>
                                          <p:attrName>ppt_w</p:attrName>
                                        </p:attrNameLst>
                                      </p:cBhvr>
                                      <p:tavLst>
                                        <p:tav tm="0">
                                          <p:val>
                                            <p:fltVal val="0"/>
                                          </p:val>
                                        </p:tav>
                                        <p:tav tm="100000">
                                          <p:val>
                                            <p:strVal val="#ppt_w"/>
                                          </p:val>
                                        </p:tav>
                                      </p:tavLst>
                                    </p:anim>
                                    <p:anim calcmode="lin" valueType="num">
                                      <p:cBhvr>
                                        <p:cTn id="25" dur="1000" fill="hold"/>
                                        <p:tgtEl>
                                          <p:spTgt spid="48"/>
                                        </p:tgtEl>
                                        <p:attrNameLst>
                                          <p:attrName>ppt_h</p:attrName>
                                        </p:attrNameLst>
                                      </p:cBhvr>
                                      <p:tavLst>
                                        <p:tav tm="0">
                                          <p:val>
                                            <p:fltVal val="0"/>
                                          </p:val>
                                        </p:tav>
                                        <p:tav tm="100000">
                                          <p:val>
                                            <p:strVal val="#ppt_h"/>
                                          </p:val>
                                        </p:tav>
                                      </p:tavLst>
                                    </p:anim>
                                    <p:animEffect transition="in" filter="fade">
                                      <p:cBhvr>
                                        <p:cTn id="26" dur="1000"/>
                                        <p:tgtEl>
                                          <p:spTgt spid="48"/>
                                        </p:tgtEl>
                                      </p:cBhvr>
                                    </p:animEffect>
                                    <p:anim calcmode="lin" valueType="num">
                                      <p:cBhvr>
                                        <p:cTn id="27" dur="1000" fill="hold"/>
                                        <p:tgtEl>
                                          <p:spTgt spid="48"/>
                                        </p:tgtEl>
                                        <p:attrNameLst>
                                          <p:attrName>ppt_x</p:attrName>
                                        </p:attrNameLst>
                                      </p:cBhvr>
                                      <p:tavLst>
                                        <p:tav tm="0">
                                          <p:val>
                                            <p:fltVal val="0.5"/>
                                          </p:val>
                                        </p:tav>
                                        <p:tav tm="100000">
                                          <p:val>
                                            <p:strVal val="#ppt_x"/>
                                          </p:val>
                                        </p:tav>
                                      </p:tavLst>
                                    </p:anim>
                                    <p:anim calcmode="lin" valueType="num">
                                      <p:cBhvr>
                                        <p:cTn id="28" dur="1000" fill="hold"/>
                                        <p:tgtEl>
                                          <p:spTgt spid="48"/>
                                        </p:tgtEl>
                                        <p:attrNameLst>
                                          <p:attrName>ppt_y</p:attrName>
                                        </p:attrNameLst>
                                      </p:cBhvr>
                                      <p:tavLst>
                                        <p:tav tm="0">
                                          <p:val>
                                            <p:fltVal val="0.5"/>
                                          </p:val>
                                        </p:tav>
                                        <p:tav tm="100000">
                                          <p:val>
                                            <p:strVal val="#ppt_y"/>
                                          </p:val>
                                        </p:tav>
                                      </p:tavLst>
                                    </p:anim>
                                  </p:childTnLst>
                                </p:cTn>
                              </p:par>
                              <p:par>
                                <p:cTn id="29" presetID="53" presetClass="entr" presetSubtype="528" fill="hold" grpId="0" nodeType="withEffect">
                                  <p:stCondLst>
                                    <p:cond delay="2000"/>
                                  </p:stCondLst>
                                  <p:childTnLst>
                                    <p:set>
                                      <p:cBhvr>
                                        <p:cTn id="30" dur="1" fill="hold">
                                          <p:stCondLst>
                                            <p:cond delay="0"/>
                                          </p:stCondLst>
                                        </p:cTn>
                                        <p:tgtEl>
                                          <p:spTgt spid="49"/>
                                        </p:tgtEl>
                                        <p:attrNameLst>
                                          <p:attrName>style.visibility</p:attrName>
                                        </p:attrNameLst>
                                      </p:cBhvr>
                                      <p:to>
                                        <p:strVal val="visible"/>
                                      </p:to>
                                    </p:set>
                                    <p:anim calcmode="lin" valueType="num">
                                      <p:cBhvr>
                                        <p:cTn id="31" dur="1000" fill="hold"/>
                                        <p:tgtEl>
                                          <p:spTgt spid="49"/>
                                        </p:tgtEl>
                                        <p:attrNameLst>
                                          <p:attrName>ppt_w</p:attrName>
                                        </p:attrNameLst>
                                      </p:cBhvr>
                                      <p:tavLst>
                                        <p:tav tm="0">
                                          <p:val>
                                            <p:fltVal val="0"/>
                                          </p:val>
                                        </p:tav>
                                        <p:tav tm="100000">
                                          <p:val>
                                            <p:strVal val="#ppt_w"/>
                                          </p:val>
                                        </p:tav>
                                      </p:tavLst>
                                    </p:anim>
                                    <p:anim calcmode="lin" valueType="num">
                                      <p:cBhvr>
                                        <p:cTn id="32" dur="1000" fill="hold"/>
                                        <p:tgtEl>
                                          <p:spTgt spid="49"/>
                                        </p:tgtEl>
                                        <p:attrNameLst>
                                          <p:attrName>ppt_h</p:attrName>
                                        </p:attrNameLst>
                                      </p:cBhvr>
                                      <p:tavLst>
                                        <p:tav tm="0">
                                          <p:val>
                                            <p:fltVal val="0"/>
                                          </p:val>
                                        </p:tav>
                                        <p:tav tm="100000">
                                          <p:val>
                                            <p:strVal val="#ppt_h"/>
                                          </p:val>
                                        </p:tav>
                                      </p:tavLst>
                                    </p:anim>
                                    <p:animEffect transition="in" filter="fade">
                                      <p:cBhvr>
                                        <p:cTn id="33" dur="1000"/>
                                        <p:tgtEl>
                                          <p:spTgt spid="49"/>
                                        </p:tgtEl>
                                      </p:cBhvr>
                                    </p:animEffect>
                                    <p:anim calcmode="lin" valueType="num">
                                      <p:cBhvr>
                                        <p:cTn id="34" dur="1000" fill="hold"/>
                                        <p:tgtEl>
                                          <p:spTgt spid="49"/>
                                        </p:tgtEl>
                                        <p:attrNameLst>
                                          <p:attrName>ppt_x</p:attrName>
                                        </p:attrNameLst>
                                      </p:cBhvr>
                                      <p:tavLst>
                                        <p:tav tm="0">
                                          <p:val>
                                            <p:fltVal val="0.5"/>
                                          </p:val>
                                        </p:tav>
                                        <p:tav tm="100000">
                                          <p:val>
                                            <p:strVal val="#ppt_x"/>
                                          </p:val>
                                        </p:tav>
                                      </p:tavLst>
                                    </p:anim>
                                    <p:anim calcmode="lin" valueType="num">
                                      <p:cBhvr>
                                        <p:cTn id="35" dur="1000" fill="hold"/>
                                        <p:tgtEl>
                                          <p:spTgt spid="49"/>
                                        </p:tgtEl>
                                        <p:attrNameLst>
                                          <p:attrName>ppt_y</p:attrName>
                                        </p:attrNameLst>
                                      </p:cBhvr>
                                      <p:tavLst>
                                        <p:tav tm="0">
                                          <p:val>
                                            <p:fltVal val="0.5"/>
                                          </p:val>
                                        </p:tav>
                                        <p:tav tm="100000">
                                          <p:val>
                                            <p:strVal val="#ppt_y"/>
                                          </p:val>
                                        </p:tav>
                                      </p:tavLst>
                                    </p:anim>
                                  </p:childTnLst>
                                </p:cTn>
                              </p:par>
                              <p:par>
                                <p:cTn id="36" presetID="53" presetClass="entr" presetSubtype="528" fill="hold" grpId="0" nodeType="withEffect">
                                  <p:stCondLst>
                                    <p:cond delay="2000"/>
                                  </p:stCondLst>
                                  <p:childTnLst>
                                    <p:set>
                                      <p:cBhvr>
                                        <p:cTn id="37" dur="1" fill="hold">
                                          <p:stCondLst>
                                            <p:cond delay="0"/>
                                          </p:stCondLst>
                                        </p:cTn>
                                        <p:tgtEl>
                                          <p:spTgt spid="47"/>
                                        </p:tgtEl>
                                        <p:attrNameLst>
                                          <p:attrName>style.visibility</p:attrName>
                                        </p:attrNameLst>
                                      </p:cBhvr>
                                      <p:to>
                                        <p:strVal val="visible"/>
                                      </p:to>
                                    </p:set>
                                    <p:anim calcmode="lin" valueType="num">
                                      <p:cBhvr>
                                        <p:cTn id="38" dur="1000" fill="hold"/>
                                        <p:tgtEl>
                                          <p:spTgt spid="47"/>
                                        </p:tgtEl>
                                        <p:attrNameLst>
                                          <p:attrName>ppt_w</p:attrName>
                                        </p:attrNameLst>
                                      </p:cBhvr>
                                      <p:tavLst>
                                        <p:tav tm="0">
                                          <p:val>
                                            <p:fltVal val="0"/>
                                          </p:val>
                                        </p:tav>
                                        <p:tav tm="100000">
                                          <p:val>
                                            <p:strVal val="#ppt_w"/>
                                          </p:val>
                                        </p:tav>
                                      </p:tavLst>
                                    </p:anim>
                                    <p:anim calcmode="lin" valueType="num">
                                      <p:cBhvr>
                                        <p:cTn id="39" dur="1000" fill="hold"/>
                                        <p:tgtEl>
                                          <p:spTgt spid="47"/>
                                        </p:tgtEl>
                                        <p:attrNameLst>
                                          <p:attrName>ppt_h</p:attrName>
                                        </p:attrNameLst>
                                      </p:cBhvr>
                                      <p:tavLst>
                                        <p:tav tm="0">
                                          <p:val>
                                            <p:fltVal val="0"/>
                                          </p:val>
                                        </p:tav>
                                        <p:tav tm="100000">
                                          <p:val>
                                            <p:strVal val="#ppt_h"/>
                                          </p:val>
                                        </p:tav>
                                      </p:tavLst>
                                    </p:anim>
                                    <p:animEffect transition="in" filter="fade">
                                      <p:cBhvr>
                                        <p:cTn id="40" dur="1000"/>
                                        <p:tgtEl>
                                          <p:spTgt spid="47"/>
                                        </p:tgtEl>
                                      </p:cBhvr>
                                    </p:animEffect>
                                    <p:anim calcmode="lin" valueType="num">
                                      <p:cBhvr>
                                        <p:cTn id="41" dur="1000" fill="hold"/>
                                        <p:tgtEl>
                                          <p:spTgt spid="47"/>
                                        </p:tgtEl>
                                        <p:attrNameLst>
                                          <p:attrName>ppt_x</p:attrName>
                                        </p:attrNameLst>
                                      </p:cBhvr>
                                      <p:tavLst>
                                        <p:tav tm="0">
                                          <p:val>
                                            <p:fltVal val="0.5"/>
                                          </p:val>
                                        </p:tav>
                                        <p:tav tm="100000">
                                          <p:val>
                                            <p:strVal val="#ppt_x"/>
                                          </p:val>
                                        </p:tav>
                                      </p:tavLst>
                                    </p:anim>
                                    <p:anim calcmode="lin" valueType="num">
                                      <p:cBhvr>
                                        <p:cTn id="42" dur="1000" fill="hold"/>
                                        <p:tgtEl>
                                          <p:spTgt spid="47"/>
                                        </p:tgtEl>
                                        <p:attrNameLst>
                                          <p:attrName>ppt_y</p:attrName>
                                        </p:attrNameLst>
                                      </p:cBhvr>
                                      <p:tavLst>
                                        <p:tav tm="0">
                                          <p:val>
                                            <p:fltVal val="0.5"/>
                                          </p:val>
                                        </p:tav>
                                        <p:tav tm="100000">
                                          <p:val>
                                            <p:strVal val="#ppt_y"/>
                                          </p:val>
                                        </p:tav>
                                      </p:tavLst>
                                    </p:anim>
                                  </p:childTnLst>
                                </p:cTn>
                              </p:par>
                              <p:par>
                                <p:cTn id="43" presetID="53" presetClass="entr" presetSubtype="528" fill="hold" grpId="0" nodeType="withEffect">
                                  <p:stCondLst>
                                    <p:cond delay="2000"/>
                                  </p:stCondLst>
                                  <p:childTnLst>
                                    <p:set>
                                      <p:cBhvr>
                                        <p:cTn id="44" dur="1" fill="hold">
                                          <p:stCondLst>
                                            <p:cond delay="0"/>
                                          </p:stCondLst>
                                        </p:cTn>
                                        <p:tgtEl>
                                          <p:spTgt spid="50"/>
                                        </p:tgtEl>
                                        <p:attrNameLst>
                                          <p:attrName>style.visibility</p:attrName>
                                        </p:attrNameLst>
                                      </p:cBhvr>
                                      <p:to>
                                        <p:strVal val="visible"/>
                                      </p:to>
                                    </p:set>
                                    <p:anim calcmode="lin" valueType="num">
                                      <p:cBhvr>
                                        <p:cTn id="45" dur="1000" fill="hold"/>
                                        <p:tgtEl>
                                          <p:spTgt spid="50"/>
                                        </p:tgtEl>
                                        <p:attrNameLst>
                                          <p:attrName>ppt_w</p:attrName>
                                        </p:attrNameLst>
                                      </p:cBhvr>
                                      <p:tavLst>
                                        <p:tav tm="0">
                                          <p:val>
                                            <p:fltVal val="0"/>
                                          </p:val>
                                        </p:tav>
                                        <p:tav tm="100000">
                                          <p:val>
                                            <p:strVal val="#ppt_w"/>
                                          </p:val>
                                        </p:tav>
                                      </p:tavLst>
                                    </p:anim>
                                    <p:anim calcmode="lin" valueType="num">
                                      <p:cBhvr>
                                        <p:cTn id="46" dur="1000" fill="hold"/>
                                        <p:tgtEl>
                                          <p:spTgt spid="50"/>
                                        </p:tgtEl>
                                        <p:attrNameLst>
                                          <p:attrName>ppt_h</p:attrName>
                                        </p:attrNameLst>
                                      </p:cBhvr>
                                      <p:tavLst>
                                        <p:tav tm="0">
                                          <p:val>
                                            <p:fltVal val="0"/>
                                          </p:val>
                                        </p:tav>
                                        <p:tav tm="100000">
                                          <p:val>
                                            <p:strVal val="#ppt_h"/>
                                          </p:val>
                                        </p:tav>
                                      </p:tavLst>
                                    </p:anim>
                                    <p:animEffect transition="in" filter="fade">
                                      <p:cBhvr>
                                        <p:cTn id="47" dur="1000"/>
                                        <p:tgtEl>
                                          <p:spTgt spid="50"/>
                                        </p:tgtEl>
                                      </p:cBhvr>
                                    </p:animEffect>
                                    <p:anim calcmode="lin" valueType="num">
                                      <p:cBhvr>
                                        <p:cTn id="48" dur="1000" fill="hold"/>
                                        <p:tgtEl>
                                          <p:spTgt spid="50"/>
                                        </p:tgtEl>
                                        <p:attrNameLst>
                                          <p:attrName>ppt_x</p:attrName>
                                        </p:attrNameLst>
                                      </p:cBhvr>
                                      <p:tavLst>
                                        <p:tav tm="0">
                                          <p:val>
                                            <p:fltVal val="0.5"/>
                                          </p:val>
                                        </p:tav>
                                        <p:tav tm="100000">
                                          <p:val>
                                            <p:strVal val="#ppt_x"/>
                                          </p:val>
                                        </p:tav>
                                      </p:tavLst>
                                    </p:anim>
                                    <p:anim calcmode="lin" valueType="num">
                                      <p:cBhvr>
                                        <p:cTn id="49" dur="1000" fill="hold"/>
                                        <p:tgtEl>
                                          <p:spTgt spid="50"/>
                                        </p:tgtEl>
                                        <p:attrNameLst>
                                          <p:attrName>ppt_y</p:attrName>
                                        </p:attrNameLst>
                                      </p:cBhvr>
                                      <p:tavLst>
                                        <p:tav tm="0">
                                          <p:val>
                                            <p:fltVal val="0.5"/>
                                          </p:val>
                                        </p:tav>
                                        <p:tav tm="100000">
                                          <p:val>
                                            <p:strVal val="#ppt_y"/>
                                          </p:val>
                                        </p:tav>
                                      </p:tavLst>
                                    </p:anim>
                                  </p:childTnLst>
                                </p:cTn>
                              </p:par>
                              <p:par>
                                <p:cTn id="50" presetID="53" presetClass="entr" presetSubtype="528" fill="hold" nodeType="withEffect">
                                  <p:stCondLst>
                                    <p:cond delay="2000"/>
                                  </p:stCondLst>
                                  <p:childTnLst>
                                    <p:set>
                                      <p:cBhvr>
                                        <p:cTn id="51" dur="1" fill="hold">
                                          <p:stCondLst>
                                            <p:cond delay="0"/>
                                          </p:stCondLst>
                                        </p:cTn>
                                        <p:tgtEl>
                                          <p:spTgt spid="51"/>
                                        </p:tgtEl>
                                        <p:attrNameLst>
                                          <p:attrName>style.visibility</p:attrName>
                                        </p:attrNameLst>
                                      </p:cBhvr>
                                      <p:to>
                                        <p:strVal val="visible"/>
                                      </p:to>
                                    </p:set>
                                    <p:anim calcmode="lin" valueType="num">
                                      <p:cBhvr>
                                        <p:cTn id="52" dur="1000" fill="hold"/>
                                        <p:tgtEl>
                                          <p:spTgt spid="51"/>
                                        </p:tgtEl>
                                        <p:attrNameLst>
                                          <p:attrName>ppt_w</p:attrName>
                                        </p:attrNameLst>
                                      </p:cBhvr>
                                      <p:tavLst>
                                        <p:tav tm="0">
                                          <p:val>
                                            <p:fltVal val="0"/>
                                          </p:val>
                                        </p:tav>
                                        <p:tav tm="100000">
                                          <p:val>
                                            <p:strVal val="#ppt_w"/>
                                          </p:val>
                                        </p:tav>
                                      </p:tavLst>
                                    </p:anim>
                                    <p:anim calcmode="lin" valueType="num">
                                      <p:cBhvr>
                                        <p:cTn id="53" dur="1000" fill="hold"/>
                                        <p:tgtEl>
                                          <p:spTgt spid="51"/>
                                        </p:tgtEl>
                                        <p:attrNameLst>
                                          <p:attrName>ppt_h</p:attrName>
                                        </p:attrNameLst>
                                      </p:cBhvr>
                                      <p:tavLst>
                                        <p:tav tm="0">
                                          <p:val>
                                            <p:fltVal val="0"/>
                                          </p:val>
                                        </p:tav>
                                        <p:tav tm="100000">
                                          <p:val>
                                            <p:strVal val="#ppt_h"/>
                                          </p:val>
                                        </p:tav>
                                      </p:tavLst>
                                    </p:anim>
                                    <p:animEffect transition="in" filter="fade">
                                      <p:cBhvr>
                                        <p:cTn id="54" dur="1000"/>
                                        <p:tgtEl>
                                          <p:spTgt spid="51"/>
                                        </p:tgtEl>
                                      </p:cBhvr>
                                    </p:animEffect>
                                    <p:anim calcmode="lin" valueType="num">
                                      <p:cBhvr>
                                        <p:cTn id="55" dur="1000" fill="hold"/>
                                        <p:tgtEl>
                                          <p:spTgt spid="51"/>
                                        </p:tgtEl>
                                        <p:attrNameLst>
                                          <p:attrName>ppt_x</p:attrName>
                                        </p:attrNameLst>
                                      </p:cBhvr>
                                      <p:tavLst>
                                        <p:tav tm="0">
                                          <p:val>
                                            <p:fltVal val="0.5"/>
                                          </p:val>
                                        </p:tav>
                                        <p:tav tm="100000">
                                          <p:val>
                                            <p:strVal val="#ppt_x"/>
                                          </p:val>
                                        </p:tav>
                                      </p:tavLst>
                                    </p:anim>
                                    <p:anim calcmode="lin" valueType="num">
                                      <p:cBhvr>
                                        <p:cTn id="56" dur="1000" fill="hold"/>
                                        <p:tgtEl>
                                          <p:spTgt spid="51"/>
                                        </p:tgtEl>
                                        <p:attrNameLst>
                                          <p:attrName>ppt_y</p:attrName>
                                        </p:attrNameLst>
                                      </p:cBhvr>
                                      <p:tavLst>
                                        <p:tav tm="0">
                                          <p:val>
                                            <p:fltVal val="0.5"/>
                                          </p:val>
                                        </p:tav>
                                        <p:tav tm="100000">
                                          <p:val>
                                            <p:strVal val="#ppt_y"/>
                                          </p:val>
                                        </p:tav>
                                      </p:tavLst>
                                    </p:anim>
                                  </p:childTnLst>
                                </p:cTn>
                              </p:par>
                              <p:par>
                                <p:cTn id="57" presetID="53" presetClass="entr" presetSubtype="528" fill="hold" grpId="0" nodeType="withEffect">
                                  <p:stCondLst>
                                    <p:cond delay="2000"/>
                                  </p:stCondLst>
                                  <p:childTnLst>
                                    <p:set>
                                      <p:cBhvr>
                                        <p:cTn id="58" dur="1" fill="hold">
                                          <p:stCondLst>
                                            <p:cond delay="0"/>
                                          </p:stCondLst>
                                        </p:cTn>
                                        <p:tgtEl>
                                          <p:spTgt spid="56"/>
                                        </p:tgtEl>
                                        <p:attrNameLst>
                                          <p:attrName>style.visibility</p:attrName>
                                        </p:attrNameLst>
                                      </p:cBhvr>
                                      <p:to>
                                        <p:strVal val="visible"/>
                                      </p:to>
                                    </p:set>
                                    <p:anim calcmode="lin" valueType="num">
                                      <p:cBhvr>
                                        <p:cTn id="59" dur="1000" fill="hold"/>
                                        <p:tgtEl>
                                          <p:spTgt spid="56"/>
                                        </p:tgtEl>
                                        <p:attrNameLst>
                                          <p:attrName>ppt_w</p:attrName>
                                        </p:attrNameLst>
                                      </p:cBhvr>
                                      <p:tavLst>
                                        <p:tav tm="0">
                                          <p:val>
                                            <p:fltVal val="0"/>
                                          </p:val>
                                        </p:tav>
                                        <p:tav tm="100000">
                                          <p:val>
                                            <p:strVal val="#ppt_w"/>
                                          </p:val>
                                        </p:tav>
                                      </p:tavLst>
                                    </p:anim>
                                    <p:anim calcmode="lin" valueType="num">
                                      <p:cBhvr>
                                        <p:cTn id="60" dur="1000" fill="hold"/>
                                        <p:tgtEl>
                                          <p:spTgt spid="56"/>
                                        </p:tgtEl>
                                        <p:attrNameLst>
                                          <p:attrName>ppt_h</p:attrName>
                                        </p:attrNameLst>
                                      </p:cBhvr>
                                      <p:tavLst>
                                        <p:tav tm="0">
                                          <p:val>
                                            <p:fltVal val="0"/>
                                          </p:val>
                                        </p:tav>
                                        <p:tav tm="100000">
                                          <p:val>
                                            <p:strVal val="#ppt_h"/>
                                          </p:val>
                                        </p:tav>
                                      </p:tavLst>
                                    </p:anim>
                                    <p:animEffect transition="in" filter="fade">
                                      <p:cBhvr>
                                        <p:cTn id="61" dur="1000"/>
                                        <p:tgtEl>
                                          <p:spTgt spid="56"/>
                                        </p:tgtEl>
                                      </p:cBhvr>
                                    </p:animEffect>
                                    <p:anim calcmode="lin" valueType="num">
                                      <p:cBhvr>
                                        <p:cTn id="62" dur="1000" fill="hold"/>
                                        <p:tgtEl>
                                          <p:spTgt spid="56"/>
                                        </p:tgtEl>
                                        <p:attrNameLst>
                                          <p:attrName>ppt_x</p:attrName>
                                        </p:attrNameLst>
                                      </p:cBhvr>
                                      <p:tavLst>
                                        <p:tav tm="0">
                                          <p:val>
                                            <p:fltVal val="0.5"/>
                                          </p:val>
                                        </p:tav>
                                        <p:tav tm="100000">
                                          <p:val>
                                            <p:strVal val="#ppt_x"/>
                                          </p:val>
                                        </p:tav>
                                      </p:tavLst>
                                    </p:anim>
                                    <p:anim calcmode="lin" valueType="num">
                                      <p:cBhvr>
                                        <p:cTn id="63" dur="1000" fill="hold"/>
                                        <p:tgtEl>
                                          <p:spTgt spid="56"/>
                                        </p:tgtEl>
                                        <p:attrNameLst>
                                          <p:attrName>ppt_y</p:attrName>
                                        </p:attrNameLst>
                                      </p:cBhvr>
                                      <p:tavLst>
                                        <p:tav tm="0">
                                          <p:val>
                                            <p:fltVal val="0.5"/>
                                          </p:val>
                                        </p:tav>
                                        <p:tav tm="100000">
                                          <p:val>
                                            <p:strVal val="#ppt_y"/>
                                          </p:val>
                                        </p:tav>
                                      </p:tavLst>
                                    </p:anim>
                                  </p:childTnLst>
                                </p:cTn>
                              </p:par>
                              <p:par>
                                <p:cTn id="64" presetID="53" presetClass="entr" presetSubtype="528" fill="hold" grpId="0" nodeType="withEffect">
                                  <p:stCondLst>
                                    <p:cond delay="2000"/>
                                  </p:stCondLst>
                                  <p:childTnLst>
                                    <p:set>
                                      <p:cBhvr>
                                        <p:cTn id="65" dur="1" fill="hold">
                                          <p:stCondLst>
                                            <p:cond delay="0"/>
                                          </p:stCondLst>
                                        </p:cTn>
                                        <p:tgtEl>
                                          <p:spTgt spid="57"/>
                                        </p:tgtEl>
                                        <p:attrNameLst>
                                          <p:attrName>style.visibility</p:attrName>
                                        </p:attrNameLst>
                                      </p:cBhvr>
                                      <p:to>
                                        <p:strVal val="visible"/>
                                      </p:to>
                                    </p:set>
                                    <p:anim calcmode="lin" valueType="num">
                                      <p:cBhvr>
                                        <p:cTn id="66" dur="1000" fill="hold"/>
                                        <p:tgtEl>
                                          <p:spTgt spid="57"/>
                                        </p:tgtEl>
                                        <p:attrNameLst>
                                          <p:attrName>ppt_w</p:attrName>
                                        </p:attrNameLst>
                                      </p:cBhvr>
                                      <p:tavLst>
                                        <p:tav tm="0">
                                          <p:val>
                                            <p:fltVal val="0"/>
                                          </p:val>
                                        </p:tav>
                                        <p:tav tm="100000">
                                          <p:val>
                                            <p:strVal val="#ppt_w"/>
                                          </p:val>
                                        </p:tav>
                                      </p:tavLst>
                                    </p:anim>
                                    <p:anim calcmode="lin" valueType="num">
                                      <p:cBhvr>
                                        <p:cTn id="67" dur="1000" fill="hold"/>
                                        <p:tgtEl>
                                          <p:spTgt spid="57"/>
                                        </p:tgtEl>
                                        <p:attrNameLst>
                                          <p:attrName>ppt_h</p:attrName>
                                        </p:attrNameLst>
                                      </p:cBhvr>
                                      <p:tavLst>
                                        <p:tav tm="0">
                                          <p:val>
                                            <p:fltVal val="0"/>
                                          </p:val>
                                        </p:tav>
                                        <p:tav tm="100000">
                                          <p:val>
                                            <p:strVal val="#ppt_h"/>
                                          </p:val>
                                        </p:tav>
                                      </p:tavLst>
                                    </p:anim>
                                    <p:animEffect transition="in" filter="fade">
                                      <p:cBhvr>
                                        <p:cTn id="68" dur="1000"/>
                                        <p:tgtEl>
                                          <p:spTgt spid="57"/>
                                        </p:tgtEl>
                                      </p:cBhvr>
                                    </p:animEffect>
                                    <p:anim calcmode="lin" valueType="num">
                                      <p:cBhvr>
                                        <p:cTn id="69" dur="1000" fill="hold"/>
                                        <p:tgtEl>
                                          <p:spTgt spid="57"/>
                                        </p:tgtEl>
                                        <p:attrNameLst>
                                          <p:attrName>ppt_x</p:attrName>
                                        </p:attrNameLst>
                                      </p:cBhvr>
                                      <p:tavLst>
                                        <p:tav tm="0">
                                          <p:val>
                                            <p:fltVal val="0.5"/>
                                          </p:val>
                                        </p:tav>
                                        <p:tav tm="100000">
                                          <p:val>
                                            <p:strVal val="#ppt_x"/>
                                          </p:val>
                                        </p:tav>
                                      </p:tavLst>
                                    </p:anim>
                                    <p:anim calcmode="lin" valueType="num">
                                      <p:cBhvr>
                                        <p:cTn id="70" dur="1000" fill="hold"/>
                                        <p:tgtEl>
                                          <p:spTgt spid="57"/>
                                        </p:tgtEl>
                                        <p:attrNameLst>
                                          <p:attrName>ppt_y</p:attrName>
                                        </p:attrNameLst>
                                      </p:cBhvr>
                                      <p:tavLst>
                                        <p:tav tm="0">
                                          <p:val>
                                            <p:fltVal val="0.5"/>
                                          </p:val>
                                        </p:tav>
                                        <p:tav tm="100000">
                                          <p:val>
                                            <p:strVal val="#ppt_y"/>
                                          </p:val>
                                        </p:tav>
                                      </p:tavLst>
                                    </p:anim>
                                  </p:childTnLst>
                                </p:cTn>
                              </p:par>
                              <p:par>
                                <p:cTn id="71" presetID="53" presetClass="entr" presetSubtype="528" fill="hold" grpId="0" nodeType="withEffect">
                                  <p:stCondLst>
                                    <p:cond delay="2000"/>
                                  </p:stCondLst>
                                  <p:childTnLst>
                                    <p:set>
                                      <p:cBhvr>
                                        <p:cTn id="72" dur="1" fill="hold">
                                          <p:stCondLst>
                                            <p:cond delay="0"/>
                                          </p:stCondLst>
                                        </p:cTn>
                                        <p:tgtEl>
                                          <p:spTgt spid="58"/>
                                        </p:tgtEl>
                                        <p:attrNameLst>
                                          <p:attrName>style.visibility</p:attrName>
                                        </p:attrNameLst>
                                      </p:cBhvr>
                                      <p:to>
                                        <p:strVal val="visible"/>
                                      </p:to>
                                    </p:set>
                                    <p:anim calcmode="lin" valueType="num">
                                      <p:cBhvr>
                                        <p:cTn id="73" dur="1000" fill="hold"/>
                                        <p:tgtEl>
                                          <p:spTgt spid="58"/>
                                        </p:tgtEl>
                                        <p:attrNameLst>
                                          <p:attrName>ppt_w</p:attrName>
                                        </p:attrNameLst>
                                      </p:cBhvr>
                                      <p:tavLst>
                                        <p:tav tm="0">
                                          <p:val>
                                            <p:fltVal val="0"/>
                                          </p:val>
                                        </p:tav>
                                        <p:tav tm="100000">
                                          <p:val>
                                            <p:strVal val="#ppt_w"/>
                                          </p:val>
                                        </p:tav>
                                      </p:tavLst>
                                    </p:anim>
                                    <p:anim calcmode="lin" valueType="num">
                                      <p:cBhvr>
                                        <p:cTn id="74" dur="1000" fill="hold"/>
                                        <p:tgtEl>
                                          <p:spTgt spid="58"/>
                                        </p:tgtEl>
                                        <p:attrNameLst>
                                          <p:attrName>ppt_h</p:attrName>
                                        </p:attrNameLst>
                                      </p:cBhvr>
                                      <p:tavLst>
                                        <p:tav tm="0">
                                          <p:val>
                                            <p:fltVal val="0"/>
                                          </p:val>
                                        </p:tav>
                                        <p:tav tm="100000">
                                          <p:val>
                                            <p:strVal val="#ppt_h"/>
                                          </p:val>
                                        </p:tav>
                                      </p:tavLst>
                                    </p:anim>
                                    <p:animEffect transition="in" filter="fade">
                                      <p:cBhvr>
                                        <p:cTn id="75" dur="1000"/>
                                        <p:tgtEl>
                                          <p:spTgt spid="58"/>
                                        </p:tgtEl>
                                      </p:cBhvr>
                                    </p:animEffect>
                                    <p:anim calcmode="lin" valueType="num">
                                      <p:cBhvr>
                                        <p:cTn id="76" dur="1000" fill="hold"/>
                                        <p:tgtEl>
                                          <p:spTgt spid="58"/>
                                        </p:tgtEl>
                                        <p:attrNameLst>
                                          <p:attrName>ppt_x</p:attrName>
                                        </p:attrNameLst>
                                      </p:cBhvr>
                                      <p:tavLst>
                                        <p:tav tm="0">
                                          <p:val>
                                            <p:fltVal val="0.5"/>
                                          </p:val>
                                        </p:tav>
                                        <p:tav tm="100000">
                                          <p:val>
                                            <p:strVal val="#ppt_x"/>
                                          </p:val>
                                        </p:tav>
                                      </p:tavLst>
                                    </p:anim>
                                    <p:anim calcmode="lin" valueType="num">
                                      <p:cBhvr>
                                        <p:cTn id="77" dur="1000" fill="hold"/>
                                        <p:tgtEl>
                                          <p:spTgt spid="58"/>
                                        </p:tgtEl>
                                        <p:attrNameLst>
                                          <p:attrName>ppt_y</p:attrName>
                                        </p:attrNameLst>
                                      </p:cBhvr>
                                      <p:tavLst>
                                        <p:tav tm="0">
                                          <p:val>
                                            <p:fltVal val="0.5"/>
                                          </p:val>
                                        </p:tav>
                                        <p:tav tm="100000">
                                          <p:val>
                                            <p:strVal val="#ppt_y"/>
                                          </p:val>
                                        </p:tav>
                                      </p:tavLst>
                                    </p:anim>
                                  </p:childTnLst>
                                </p:cTn>
                              </p:par>
                              <p:par>
                                <p:cTn id="78" presetID="53" presetClass="entr" presetSubtype="528" fill="hold" grpId="0" nodeType="withEffect">
                                  <p:stCondLst>
                                    <p:cond delay="2000"/>
                                  </p:stCondLst>
                                  <p:childTnLst>
                                    <p:set>
                                      <p:cBhvr>
                                        <p:cTn id="79" dur="1" fill="hold">
                                          <p:stCondLst>
                                            <p:cond delay="0"/>
                                          </p:stCondLst>
                                        </p:cTn>
                                        <p:tgtEl>
                                          <p:spTgt spid="59"/>
                                        </p:tgtEl>
                                        <p:attrNameLst>
                                          <p:attrName>style.visibility</p:attrName>
                                        </p:attrNameLst>
                                      </p:cBhvr>
                                      <p:to>
                                        <p:strVal val="visible"/>
                                      </p:to>
                                    </p:set>
                                    <p:anim calcmode="lin" valueType="num">
                                      <p:cBhvr>
                                        <p:cTn id="80" dur="1000" fill="hold"/>
                                        <p:tgtEl>
                                          <p:spTgt spid="59"/>
                                        </p:tgtEl>
                                        <p:attrNameLst>
                                          <p:attrName>ppt_w</p:attrName>
                                        </p:attrNameLst>
                                      </p:cBhvr>
                                      <p:tavLst>
                                        <p:tav tm="0">
                                          <p:val>
                                            <p:fltVal val="0"/>
                                          </p:val>
                                        </p:tav>
                                        <p:tav tm="100000">
                                          <p:val>
                                            <p:strVal val="#ppt_w"/>
                                          </p:val>
                                        </p:tav>
                                      </p:tavLst>
                                    </p:anim>
                                    <p:anim calcmode="lin" valueType="num">
                                      <p:cBhvr>
                                        <p:cTn id="81" dur="1000" fill="hold"/>
                                        <p:tgtEl>
                                          <p:spTgt spid="59"/>
                                        </p:tgtEl>
                                        <p:attrNameLst>
                                          <p:attrName>ppt_h</p:attrName>
                                        </p:attrNameLst>
                                      </p:cBhvr>
                                      <p:tavLst>
                                        <p:tav tm="0">
                                          <p:val>
                                            <p:fltVal val="0"/>
                                          </p:val>
                                        </p:tav>
                                        <p:tav tm="100000">
                                          <p:val>
                                            <p:strVal val="#ppt_h"/>
                                          </p:val>
                                        </p:tav>
                                      </p:tavLst>
                                    </p:anim>
                                    <p:animEffect transition="in" filter="fade">
                                      <p:cBhvr>
                                        <p:cTn id="82" dur="1000"/>
                                        <p:tgtEl>
                                          <p:spTgt spid="59"/>
                                        </p:tgtEl>
                                      </p:cBhvr>
                                    </p:animEffect>
                                    <p:anim calcmode="lin" valueType="num">
                                      <p:cBhvr>
                                        <p:cTn id="83" dur="1000" fill="hold"/>
                                        <p:tgtEl>
                                          <p:spTgt spid="59"/>
                                        </p:tgtEl>
                                        <p:attrNameLst>
                                          <p:attrName>ppt_x</p:attrName>
                                        </p:attrNameLst>
                                      </p:cBhvr>
                                      <p:tavLst>
                                        <p:tav tm="0">
                                          <p:val>
                                            <p:fltVal val="0.5"/>
                                          </p:val>
                                        </p:tav>
                                        <p:tav tm="100000">
                                          <p:val>
                                            <p:strVal val="#ppt_x"/>
                                          </p:val>
                                        </p:tav>
                                      </p:tavLst>
                                    </p:anim>
                                    <p:anim calcmode="lin" valueType="num">
                                      <p:cBhvr>
                                        <p:cTn id="84" dur="1000" fill="hold"/>
                                        <p:tgtEl>
                                          <p:spTgt spid="59"/>
                                        </p:tgtEl>
                                        <p:attrNameLst>
                                          <p:attrName>ppt_y</p:attrName>
                                        </p:attrNameLst>
                                      </p:cBhvr>
                                      <p:tavLst>
                                        <p:tav tm="0">
                                          <p:val>
                                            <p:fltVal val="0.5"/>
                                          </p:val>
                                        </p:tav>
                                        <p:tav tm="100000">
                                          <p:val>
                                            <p:strVal val="#ppt_y"/>
                                          </p:val>
                                        </p:tav>
                                      </p:tavLst>
                                    </p:anim>
                                  </p:childTnLst>
                                </p:cTn>
                              </p:par>
                              <p:par>
                                <p:cTn id="85" presetID="53" presetClass="entr" presetSubtype="528" fill="hold" grpId="0" nodeType="withEffect">
                                  <p:stCondLst>
                                    <p:cond delay="2000"/>
                                  </p:stCondLst>
                                  <p:childTnLst>
                                    <p:set>
                                      <p:cBhvr>
                                        <p:cTn id="86" dur="1" fill="hold">
                                          <p:stCondLst>
                                            <p:cond delay="0"/>
                                          </p:stCondLst>
                                        </p:cTn>
                                        <p:tgtEl>
                                          <p:spTgt spid="60"/>
                                        </p:tgtEl>
                                        <p:attrNameLst>
                                          <p:attrName>style.visibility</p:attrName>
                                        </p:attrNameLst>
                                      </p:cBhvr>
                                      <p:to>
                                        <p:strVal val="visible"/>
                                      </p:to>
                                    </p:set>
                                    <p:anim calcmode="lin" valueType="num">
                                      <p:cBhvr>
                                        <p:cTn id="87" dur="1000" fill="hold"/>
                                        <p:tgtEl>
                                          <p:spTgt spid="60"/>
                                        </p:tgtEl>
                                        <p:attrNameLst>
                                          <p:attrName>ppt_w</p:attrName>
                                        </p:attrNameLst>
                                      </p:cBhvr>
                                      <p:tavLst>
                                        <p:tav tm="0">
                                          <p:val>
                                            <p:fltVal val="0"/>
                                          </p:val>
                                        </p:tav>
                                        <p:tav tm="100000">
                                          <p:val>
                                            <p:strVal val="#ppt_w"/>
                                          </p:val>
                                        </p:tav>
                                      </p:tavLst>
                                    </p:anim>
                                    <p:anim calcmode="lin" valueType="num">
                                      <p:cBhvr>
                                        <p:cTn id="88" dur="1000" fill="hold"/>
                                        <p:tgtEl>
                                          <p:spTgt spid="60"/>
                                        </p:tgtEl>
                                        <p:attrNameLst>
                                          <p:attrName>ppt_h</p:attrName>
                                        </p:attrNameLst>
                                      </p:cBhvr>
                                      <p:tavLst>
                                        <p:tav tm="0">
                                          <p:val>
                                            <p:fltVal val="0"/>
                                          </p:val>
                                        </p:tav>
                                        <p:tav tm="100000">
                                          <p:val>
                                            <p:strVal val="#ppt_h"/>
                                          </p:val>
                                        </p:tav>
                                      </p:tavLst>
                                    </p:anim>
                                    <p:animEffect transition="in" filter="fade">
                                      <p:cBhvr>
                                        <p:cTn id="89" dur="1000"/>
                                        <p:tgtEl>
                                          <p:spTgt spid="60"/>
                                        </p:tgtEl>
                                      </p:cBhvr>
                                    </p:animEffect>
                                    <p:anim calcmode="lin" valueType="num">
                                      <p:cBhvr>
                                        <p:cTn id="90" dur="1000" fill="hold"/>
                                        <p:tgtEl>
                                          <p:spTgt spid="60"/>
                                        </p:tgtEl>
                                        <p:attrNameLst>
                                          <p:attrName>ppt_x</p:attrName>
                                        </p:attrNameLst>
                                      </p:cBhvr>
                                      <p:tavLst>
                                        <p:tav tm="0">
                                          <p:val>
                                            <p:fltVal val="0.5"/>
                                          </p:val>
                                        </p:tav>
                                        <p:tav tm="100000">
                                          <p:val>
                                            <p:strVal val="#ppt_x"/>
                                          </p:val>
                                        </p:tav>
                                      </p:tavLst>
                                    </p:anim>
                                    <p:anim calcmode="lin" valueType="num">
                                      <p:cBhvr>
                                        <p:cTn id="91" dur="1000" fill="hold"/>
                                        <p:tgtEl>
                                          <p:spTgt spid="60"/>
                                        </p:tgtEl>
                                        <p:attrNameLst>
                                          <p:attrName>ppt_y</p:attrName>
                                        </p:attrNameLst>
                                      </p:cBhvr>
                                      <p:tavLst>
                                        <p:tav tm="0">
                                          <p:val>
                                            <p:fltVal val="0.5"/>
                                          </p:val>
                                        </p:tav>
                                        <p:tav tm="100000">
                                          <p:val>
                                            <p:strVal val="#ppt_y"/>
                                          </p:val>
                                        </p:tav>
                                      </p:tavLst>
                                    </p:anim>
                                  </p:childTnLst>
                                </p:cTn>
                              </p:par>
                              <p:par>
                                <p:cTn id="92" presetID="53" presetClass="entr" presetSubtype="528" fill="hold" nodeType="withEffect">
                                  <p:stCondLst>
                                    <p:cond delay="2000"/>
                                  </p:stCondLst>
                                  <p:childTnLst>
                                    <p:set>
                                      <p:cBhvr>
                                        <p:cTn id="93" dur="1" fill="hold">
                                          <p:stCondLst>
                                            <p:cond delay="0"/>
                                          </p:stCondLst>
                                        </p:cTn>
                                        <p:tgtEl>
                                          <p:spTgt spid="61"/>
                                        </p:tgtEl>
                                        <p:attrNameLst>
                                          <p:attrName>style.visibility</p:attrName>
                                        </p:attrNameLst>
                                      </p:cBhvr>
                                      <p:to>
                                        <p:strVal val="visible"/>
                                      </p:to>
                                    </p:set>
                                    <p:anim calcmode="lin" valueType="num">
                                      <p:cBhvr>
                                        <p:cTn id="94" dur="1000" fill="hold"/>
                                        <p:tgtEl>
                                          <p:spTgt spid="61"/>
                                        </p:tgtEl>
                                        <p:attrNameLst>
                                          <p:attrName>ppt_w</p:attrName>
                                        </p:attrNameLst>
                                      </p:cBhvr>
                                      <p:tavLst>
                                        <p:tav tm="0">
                                          <p:val>
                                            <p:fltVal val="0"/>
                                          </p:val>
                                        </p:tav>
                                        <p:tav tm="100000">
                                          <p:val>
                                            <p:strVal val="#ppt_w"/>
                                          </p:val>
                                        </p:tav>
                                      </p:tavLst>
                                    </p:anim>
                                    <p:anim calcmode="lin" valueType="num">
                                      <p:cBhvr>
                                        <p:cTn id="95" dur="1000" fill="hold"/>
                                        <p:tgtEl>
                                          <p:spTgt spid="61"/>
                                        </p:tgtEl>
                                        <p:attrNameLst>
                                          <p:attrName>ppt_h</p:attrName>
                                        </p:attrNameLst>
                                      </p:cBhvr>
                                      <p:tavLst>
                                        <p:tav tm="0">
                                          <p:val>
                                            <p:fltVal val="0"/>
                                          </p:val>
                                        </p:tav>
                                        <p:tav tm="100000">
                                          <p:val>
                                            <p:strVal val="#ppt_h"/>
                                          </p:val>
                                        </p:tav>
                                      </p:tavLst>
                                    </p:anim>
                                    <p:animEffect transition="in" filter="fade">
                                      <p:cBhvr>
                                        <p:cTn id="96" dur="1000"/>
                                        <p:tgtEl>
                                          <p:spTgt spid="61"/>
                                        </p:tgtEl>
                                      </p:cBhvr>
                                    </p:animEffect>
                                    <p:anim calcmode="lin" valueType="num">
                                      <p:cBhvr>
                                        <p:cTn id="97" dur="1000" fill="hold"/>
                                        <p:tgtEl>
                                          <p:spTgt spid="61"/>
                                        </p:tgtEl>
                                        <p:attrNameLst>
                                          <p:attrName>ppt_x</p:attrName>
                                        </p:attrNameLst>
                                      </p:cBhvr>
                                      <p:tavLst>
                                        <p:tav tm="0">
                                          <p:val>
                                            <p:fltVal val="0.5"/>
                                          </p:val>
                                        </p:tav>
                                        <p:tav tm="100000">
                                          <p:val>
                                            <p:strVal val="#ppt_x"/>
                                          </p:val>
                                        </p:tav>
                                      </p:tavLst>
                                    </p:anim>
                                    <p:anim calcmode="lin" valueType="num">
                                      <p:cBhvr>
                                        <p:cTn id="98" dur="1000" fill="hold"/>
                                        <p:tgtEl>
                                          <p:spTgt spid="61"/>
                                        </p:tgtEl>
                                        <p:attrNameLst>
                                          <p:attrName>ppt_y</p:attrName>
                                        </p:attrNameLst>
                                      </p:cBhvr>
                                      <p:tavLst>
                                        <p:tav tm="0">
                                          <p:val>
                                            <p:fltVal val="0.5"/>
                                          </p:val>
                                        </p:tav>
                                        <p:tav tm="100000">
                                          <p:val>
                                            <p:strVal val="#ppt_y"/>
                                          </p:val>
                                        </p:tav>
                                      </p:tavLst>
                                    </p:anim>
                                  </p:childTnLst>
                                </p:cTn>
                              </p:par>
                              <p:par>
                                <p:cTn id="99" presetID="2" presetClass="entr" presetSubtype="8" decel="100000" fill="hold" grpId="1" nodeType="withEffect">
                                  <p:stCondLst>
                                    <p:cond delay="2000"/>
                                  </p:stCondLst>
                                  <p:childTnLst>
                                    <p:set>
                                      <p:cBhvr>
                                        <p:cTn id="100" dur="1" fill="hold">
                                          <p:stCondLst>
                                            <p:cond delay="0"/>
                                          </p:stCondLst>
                                        </p:cTn>
                                        <p:tgtEl>
                                          <p:spTgt spid="64"/>
                                        </p:tgtEl>
                                        <p:attrNameLst>
                                          <p:attrName>style.visibility</p:attrName>
                                        </p:attrNameLst>
                                      </p:cBhvr>
                                      <p:to>
                                        <p:strVal val="visible"/>
                                      </p:to>
                                    </p:set>
                                    <p:anim calcmode="lin" valueType="num">
                                      <p:cBhvr additive="base">
                                        <p:cTn id="101" dur="1000" fill="hold"/>
                                        <p:tgtEl>
                                          <p:spTgt spid="64"/>
                                        </p:tgtEl>
                                        <p:attrNameLst>
                                          <p:attrName>ppt_x</p:attrName>
                                        </p:attrNameLst>
                                      </p:cBhvr>
                                      <p:tavLst>
                                        <p:tav tm="0">
                                          <p:val>
                                            <p:strVal val="0-#ppt_w/2"/>
                                          </p:val>
                                        </p:tav>
                                        <p:tav tm="100000">
                                          <p:val>
                                            <p:strVal val="#ppt_x"/>
                                          </p:val>
                                        </p:tav>
                                      </p:tavLst>
                                    </p:anim>
                                    <p:anim calcmode="lin" valueType="num">
                                      <p:cBhvr additive="base">
                                        <p:cTn id="102" dur="1000" fill="hold"/>
                                        <p:tgtEl>
                                          <p:spTgt spid="64"/>
                                        </p:tgtEl>
                                        <p:attrNameLst>
                                          <p:attrName>ppt_y</p:attrName>
                                        </p:attrNameLst>
                                      </p:cBhvr>
                                      <p:tavLst>
                                        <p:tav tm="0">
                                          <p:val>
                                            <p:strVal val="#ppt_y"/>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10" presetClass="exit" presetSubtype="0" fill="hold" grpId="0" nodeType="clickEffect">
                                  <p:stCondLst>
                                    <p:cond delay="0"/>
                                  </p:stCondLst>
                                  <p:childTnLst>
                                    <p:animEffect transition="out" filter="fade">
                                      <p:cBhvr>
                                        <p:cTn id="106" dur="500"/>
                                        <p:tgtEl>
                                          <p:spTgt spid="46"/>
                                        </p:tgtEl>
                                      </p:cBhvr>
                                    </p:animEffect>
                                    <p:set>
                                      <p:cBhvr>
                                        <p:cTn id="107" dur="1" fill="hold">
                                          <p:stCondLst>
                                            <p:cond delay="499"/>
                                          </p:stCondLst>
                                        </p:cTn>
                                        <p:tgtEl>
                                          <p:spTgt spid="46"/>
                                        </p:tgtEl>
                                        <p:attrNameLst>
                                          <p:attrName>style.visibility</p:attrName>
                                        </p:attrNameLst>
                                      </p:cBhvr>
                                      <p:to>
                                        <p:strVal val="hidden"/>
                                      </p:to>
                                    </p:set>
                                  </p:childTnLst>
                                </p:cTn>
                              </p:par>
                              <p:par>
                                <p:cTn id="108" presetID="10" presetClass="exit" presetSubtype="0" fill="hold" grpId="0" nodeType="withEffect">
                                  <p:stCondLst>
                                    <p:cond delay="0"/>
                                  </p:stCondLst>
                                  <p:childTnLst>
                                    <p:animEffect transition="out" filter="fade">
                                      <p:cBhvr>
                                        <p:cTn id="109" dur="500"/>
                                        <p:tgtEl>
                                          <p:spTgt spid="64"/>
                                        </p:tgtEl>
                                      </p:cBhvr>
                                    </p:animEffect>
                                    <p:set>
                                      <p:cBhvr>
                                        <p:cTn id="110" dur="1" fill="hold">
                                          <p:stCondLst>
                                            <p:cond delay="499"/>
                                          </p:stCondLst>
                                        </p:cTn>
                                        <p:tgtEl>
                                          <p:spTgt spid="64"/>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6"/>
                                        </p:tgtEl>
                                      </p:cBhvr>
                                    </p:animEffect>
                                    <p:set>
                                      <p:cBhvr>
                                        <p:cTn id="113" dur="1" fill="hold">
                                          <p:stCondLst>
                                            <p:cond delay="499"/>
                                          </p:stCondLst>
                                        </p:cTn>
                                        <p:tgtEl>
                                          <p:spTgt spid="6"/>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9"/>
                                        </p:tgtEl>
                                      </p:cBhvr>
                                    </p:animEffect>
                                    <p:set>
                                      <p:cBhvr>
                                        <p:cTn id="116" dur="1" fill="hold">
                                          <p:stCondLst>
                                            <p:cond delay="499"/>
                                          </p:stCondLst>
                                        </p:cTn>
                                        <p:tgtEl>
                                          <p:spTgt spid="9"/>
                                        </p:tgtEl>
                                        <p:attrNameLst>
                                          <p:attrName>style.visibility</p:attrName>
                                        </p:attrNameLst>
                                      </p:cBhvr>
                                      <p:to>
                                        <p:strVal val="hidden"/>
                                      </p:to>
                                    </p:set>
                                  </p:childTnLst>
                                </p:cTn>
                              </p:par>
                            </p:childTnLst>
                          </p:cTn>
                        </p:par>
                        <p:par>
                          <p:cTn id="117" fill="hold">
                            <p:stCondLst>
                              <p:cond delay="500"/>
                            </p:stCondLst>
                            <p:childTnLst>
                              <p:par>
                                <p:cTn id="118" presetID="1" presetClass="emph" presetSubtype="2" fill="hold" nodeType="afterEffect">
                                  <p:stCondLst>
                                    <p:cond delay="500"/>
                                  </p:stCondLst>
                                  <p:childTnLst>
                                    <p:animClr clrSpc="rgb" dir="cw">
                                      <p:cBhvr>
                                        <p:cTn id="119" dur="1000" fill="hold"/>
                                        <p:tgtEl>
                                          <p:spTgt spid="48"/>
                                        </p:tgtEl>
                                        <p:attrNameLst>
                                          <p:attrName>fillcolor</p:attrName>
                                        </p:attrNameLst>
                                      </p:cBhvr>
                                      <p:to>
                                        <a:srgbClr val="DC3C00"/>
                                      </p:to>
                                    </p:animClr>
                                    <p:set>
                                      <p:cBhvr>
                                        <p:cTn id="120" dur="1000" fill="hold"/>
                                        <p:tgtEl>
                                          <p:spTgt spid="48"/>
                                        </p:tgtEl>
                                        <p:attrNameLst>
                                          <p:attrName>fill.type</p:attrName>
                                        </p:attrNameLst>
                                      </p:cBhvr>
                                      <p:to>
                                        <p:strVal val="solid"/>
                                      </p:to>
                                    </p:set>
                                    <p:set>
                                      <p:cBhvr>
                                        <p:cTn id="121" dur="1000" fill="hold"/>
                                        <p:tgtEl>
                                          <p:spTgt spid="48"/>
                                        </p:tgtEl>
                                        <p:attrNameLst>
                                          <p:attrName>fill.on</p:attrName>
                                        </p:attrNameLst>
                                      </p:cBhvr>
                                      <p:to>
                                        <p:strVal val="true"/>
                                      </p:to>
                                    </p:set>
                                  </p:childTnLst>
                                </p:cTn>
                              </p:par>
                              <p:par>
                                <p:cTn id="122" presetID="1" presetClass="emph" presetSubtype="2" fill="hold" nodeType="withEffect">
                                  <p:stCondLst>
                                    <p:cond delay="500"/>
                                  </p:stCondLst>
                                  <p:childTnLst>
                                    <p:animClr clrSpc="rgb" dir="cw">
                                      <p:cBhvr>
                                        <p:cTn id="123" dur="1000" fill="hold"/>
                                        <p:tgtEl>
                                          <p:spTgt spid="49"/>
                                        </p:tgtEl>
                                        <p:attrNameLst>
                                          <p:attrName>fillcolor</p:attrName>
                                        </p:attrNameLst>
                                      </p:cBhvr>
                                      <p:to>
                                        <a:srgbClr val="FF8C00"/>
                                      </p:to>
                                    </p:animClr>
                                    <p:set>
                                      <p:cBhvr>
                                        <p:cTn id="124" dur="1000" fill="hold"/>
                                        <p:tgtEl>
                                          <p:spTgt spid="49"/>
                                        </p:tgtEl>
                                        <p:attrNameLst>
                                          <p:attrName>fill.type</p:attrName>
                                        </p:attrNameLst>
                                      </p:cBhvr>
                                      <p:to>
                                        <p:strVal val="solid"/>
                                      </p:to>
                                    </p:set>
                                    <p:set>
                                      <p:cBhvr>
                                        <p:cTn id="125" dur="1000" fill="hold"/>
                                        <p:tgtEl>
                                          <p:spTgt spid="49"/>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6" grpId="1" animBg="1"/>
      <p:bldP spid="47" grpId="0" animBg="1"/>
      <p:bldP spid="48" grpId="0" animBg="1"/>
      <p:bldP spid="49" grpId="0" animBg="1"/>
      <p:bldP spid="50" grpId="0" animBg="1"/>
      <p:bldP spid="56" grpId="0" animBg="1"/>
      <p:bldP spid="57" grpId="0"/>
      <p:bldP spid="58" grpId="0"/>
      <p:bldP spid="59" grpId="0"/>
      <p:bldP spid="60" grpId="0" animBg="1"/>
      <p:bldP spid="64" grpId="0" animBg="1"/>
      <p:bldP spid="64"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smtClean="0"/>
              <a:t>Microsoft Data Platform</a:t>
            </a:r>
            <a:endParaRPr lang="en-AU" dirty="0"/>
          </a:p>
        </p:txBody>
      </p:sp>
      <p:grpSp>
        <p:nvGrpSpPr>
          <p:cNvPr id="4" name="Group 3"/>
          <p:cNvGrpSpPr/>
          <p:nvPr/>
        </p:nvGrpSpPr>
        <p:grpSpPr>
          <a:xfrm>
            <a:off x="3623017" y="2552021"/>
            <a:ext cx="8360909" cy="1326891"/>
            <a:chOff x="7735505" y="2113971"/>
            <a:chExt cx="8197714" cy="1300992"/>
          </a:xfrm>
        </p:grpSpPr>
        <p:sp>
          <p:nvSpPr>
            <p:cNvPr id="5" name="Rectangle 4">
              <a:hlinkClick r:id="" action="ppaction://noaction"/>
            </p:cNvPr>
            <p:cNvSpPr/>
            <p:nvPr/>
          </p:nvSpPr>
          <p:spPr bwMode="auto">
            <a:xfrm>
              <a:off x="7735505" y="2113971"/>
              <a:ext cx="8106497" cy="1300992"/>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137141" tIns="102856" rIns="137141" bIns="34285" numCol="1" spcCol="0" rtlCol="0" fromWordArt="0" anchor="t" anchorCtr="0" forceAA="0" compatLnSpc="1">
              <a:prstTxWarp prst="textNoShape">
                <a:avLst/>
              </a:prstTxWarp>
              <a:noAutofit/>
            </a:bodyPr>
            <a:lstStyle/>
            <a:p>
              <a:pPr defTabSz="582601" fontAlgn="base">
                <a:lnSpc>
                  <a:spcPct val="90000"/>
                </a:lnSpc>
                <a:spcBef>
                  <a:spcPct val="0"/>
                </a:spcBef>
                <a:spcAft>
                  <a:spcPct val="0"/>
                </a:spcAft>
              </a:pPr>
              <a:r>
                <a:rPr lang="en-US" sz="2000" kern="0" dirty="0">
                  <a:ln>
                    <a:solidFill>
                      <a:srgbClr val="FFFFFF">
                        <a:alpha val="0"/>
                      </a:srgbClr>
                    </a:solidFill>
                  </a:ln>
                  <a:solidFill>
                    <a:srgbClr val="FFFFFF"/>
                  </a:solidFill>
                  <a:latin typeface="Segoe UI Light"/>
                </a:rPr>
                <a:t>DATA ENRICHMENT &amp; FEDERATED QUERY</a:t>
              </a:r>
            </a:p>
          </p:txBody>
        </p:sp>
        <p:grpSp>
          <p:nvGrpSpPr>
            <p:cNvPr id="6" name="Group 5"/>
            <p:cNvGrpSpPr/>
            <p:nvPr/>
          </p:nvGrpSpPr>
          <p:grpSpPr>
            <a:xfrm>
              <a:off x="7826722" y="2499960"/>
              <a:ext cx="8106497" cy="881914"/>
              <a:chOff x="3481494" y="2654242"/>
              <a:chExt cx="8449056" cy="919181"/>
            </a:xfrm>
          </p:grpSpPr>
          <p:sp>
            <p:nvSpPr>
              <p:cNvPr id="7" name="Rectangle 6"/>
              <p:cNvSpPr/>
              <p:nvPr/>
            </p:nvSpPr>
            <p:spPr bwMode="auto">
              <a:xfrm>
                <a:off x="5608998"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ts val="1530"/>
                  </a:lnSpc>
                  <a:spcBef>
                    <a:spcPct val="0"/>
                  </a:spcBef>
                  <a:spcAft>
                    <a:spcPct val="0"/>
                  </a:spcAft>
                </a:pPr>
                <a:endParaRPr lang="en-US" sz="4080" b="1"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8" name="Rectangle 7"/>
              <p:cNvSpPr/>
              <p:nvPr/>
            </p:nvSpPr>
            <p:spPr bwMode="auto">
              <a:xfrm>
                <a:off x="3481494"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ts val="1530"/>
                  </a:lnSpc>
                  <a:spcBef>
                    <a:spcPct val="0"/>
                  </a:spcBef>
                  <a:spcAft>
                    <a:spcPct val="0"/>
                  </a:spcAft>
                </a:pPr>
                <a:endParaRPr lang="en-US" sz="4080" b="1"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9" name="Rectangle 8"/>
              <p:cNvSpPr/>
              <p:nvPr/>
            </p:nvSpPr>
            <p:spPr bwMode="auto">
              <a:xfrm>
                <a:off x="7736502"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ts val="1530"/>
                  </a:lnSpc>
                  <a:spcBef>
                    <a:spcPct val="0"/>
                  </a:spcBef>
                  <a:spcAft>
                    <a:spcPct val="0"/>
                  </a:spcAft>
                </a:pPr>
                <a:endParaRPr lang="en-US" sz="4080" b="1"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10" name="Rectangle 9"/>
              <p:cNvSpPr/>
              <p:nvPr/>
            </p:nvSpPr>
            <p:spPr bwMode="auto">
              <a:xfrm>
                <a:off x="9864006"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ts val="1530"/>
                  </a:lnSpc>
                  <a:spcBef>
                    <a:spcPct val="0"/>
                  </a:spcBef>
                  <a:spcAft>
                    <a:spcPct val="0"/>
                  </a:spcAft>
                </a:pPr>
                <a:endParaRPr lang="en-US" sz="4080" b="1"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11" name="TextBox 10"/>
              <p:cNvSpPr txBox="1"/>
              <p:nvPr/>
            </p:nvSpPr>
            <p:spPr>
              <a:xfrm>
                <a:off x="5697149" y="3186481"/>
                <a:ext cx="1647541" cy="348251"/>
              </a:xfrm>
              <a:prstGeom prst="rect">
                <a:avLst/>
              </a:prstGeom>
              <a:noFill/>
            </p:spPr>
            <p:txBody>
              <a:bodyPr wrap="square" lIns="0" tIns="0" rIns="0" bIns="0" rtlCol="0" anchor="ctr">
                <a:noAutofit/>
              </a:bodyPr>
              <a:lstStyle/>
              <a:p>
                <a:pPr defTabSz="699402">
                  <a:lnSpc>
                    <a:spcPts val="1530"/>
                  </a:lnSpc>
                  <a:spcAft>
                    <a:spcPts val="450"/>
                  </a:spcAft>
                </a:pPr>
                <a:r>
                  <a:rPr lang="en-US" sz="1632" b="1" dirty="0">
                    <a:gradFill>
                      <a:gsLst>
                        <a:gs pos="85841">
                          <a:srgbClr val="FFFFFF"/>
                        </a:gs>
                        <a:gs pos="0">
                          <a:srgbClr val="FFFFFF"/>
                        </a:gs>
                      </a:gsLst>
                      <a:lin ang="5400000" scaled="0"/>
                    </a:gradFill>
                    <a:latin typeface="Segoe UI Light" panose="020B0502040204020203" pitchFamily="34" charset="0"/>
                  </a:rPr>
                  <a:t>Extract, transform, load</a:t>
                </a:r>
              </a:p>
            </p:txBody>
          </p:sp>
          <p:sp>
            <p:nvSpPr>
              <p:cNvPr id="12" name="TextBox 11"/>
              <p:cNvSpPr txBox="1"/>
              <p:nvPr/>
            </p:nvSpPr>
            <p:spPr>
              <a:xfrm>
                <a:off x="3649841" y="3201607"/>
                <a:ext cx="1803232" cy="333125"/>
              </a:xfrm>
              <a:prstGeom prst="rect">
                <a:avLst/>
              </a:prstGeom>
              <a:noFill/>
            </p:spPr>
            <p:txBody>
              <a:bodyPr wrap="square" lIns="0" tIns="0" rIns="0" bIns="0" rtlCol="0" anchor="ctr">
                <a:noAutofit/>
              </a:bodyPr>
              <a:lstStyle/>
              <a:p>
                <a:pPr defTabSz="699402">
                  <a:lnSpc>
                    <a:spcPts val="1530"/>
                  </a:lnSpc>
                  <a:spcAft>
                    <a:spcPts val="450"/>
                  </a:spcAft>
                </a:pPr>
                <a:r>
                  <a:rPr lang="en-US" sz="1632" b="1" dirty="0">
                    <a:gradFill>
                      <a:gsLst>
                        <a:gs pos="85841">
                          <a:srgbClr val="FFFFFF"/>
                        </a:gs>
                        <a:gs pos="0">
                          <a:srgbClr val="FFFFFF"/>
                        </a:gs>
                      </a:gsLst>
                      <a:lin ang="5400000" scaled="0"/>
                    </a:gradFill>
                    <a:latin typeface="Segoe UI Light" panose="020B0502040204020203" pitchFamily="34" charset="0"/>
                  </a:rPr>
                  <a:t>Single query model</a:t>
                </a:r>
              </a:p>
            </p:txBody>
          </p:sp>
          <p:sp>
            <p:nvSpPr>
              <p:cNvPr id="13" name="TextBox 12"/>
              <p:cNvSpPr txBox="1"/>
              <p:nvPr/>
            </p:nvSpPr>
            <p:spPr>
              <a:xfrm>
                <a:off x="7828806" y="3216735"/>
                <a:ext cx="1641921" cy="348251"/>
              </a:xfrm>
              <a:prstGeom prst="rect">
                <a:avLst/>
              </a:prstGeom>
              <a:noFill/>
            </p:spPr>
            <p:txBody>
              <a:bodyPr wrap="square" lIns="0" tIns="0" rIns="0" bIns="0" rtlCol="0" anchor="ctr">
                <a:noAutofit/>
              </a:bodyPr>
              <a:lstStyle/>
              <a:p>
                <a:pPr defTabSz="699402">
                  <a:lnSpc>
                    <a:spcPts val="1530"/>
                  </a:lnSpc>
                  <a:spcAft>
                    <a:spcPts val="450"/>
                  </a:spcAft>
                </a:pPr>
                <a:r>
                  <a:rPr lang="en-US" sz="1632" b="1" dirty="0">
                    <a:gradFill>
                      <a:gsLst>
                        <a:gs pos="85841">
                          <a:srgbClr val="FFFFFF"/>
                        </a:gs>
                        <a:gs pos="0">
                          <a:srgbClr val="FFFFFF"/>
                        </a:gs>
                      </a:gsLst>
                      <a:lin ang="5400000" scaled="0"/>
                    </a:gradFill>
                    <a:latin typeface="Segoe UI Light" panose="020B0502040204020203" pitchFamily="34" charset="0"/>
                  </a:rPr>
                  <a:t>Data quality</a:t>
                </a:r>
              </a:p>
            </p:txBody>
          </p:sp>
          <p:sp>
            <p:nvSpPr>
              <p:cNvPr id="14" name="TextBox 13"/>
              <p:cNvSpPr txBox="1"/>
              <p:nvPr/>
            </p:nvSpPr>
            <p:spPr>
              <a:xfrm>
                <a:off x="9943256" y="3171354"/>
                <a:ext cx="1915719" cy="348251"/>
              </a:xfrm>
              <a:prstGeom prst="rect">
                <a:avLst/>
              </a:prstGeom>
              <a:noFill/>
            </p:spPr>
            <p:txBody>
              <a:bodyPr wrap="square" lIns="0" tIns="0" rIns="0" bIns="0" rtlCol="0" anchor="ctr">
                <a:noAutofit/>
              </a:bodyPr>
              <a:lstStyle/>
              <a:p>
                <a:pPr defTabSz="699402">
                  <a:lnSpc>
                    <a:spcPts val="1530"/>
                  </a:lnSpc>
                  <a:spcAft>
                    <a:spcPts val="450"/>
                  </a:spcAft>
                </a:pPr>
                <a:r>
                  <a:rPr lang="en-US" sz="1632" b="1" dirty="0">
                    <a:gradFill>
                      <a:gsLst>
                        <a:gs pos="85841">
                          <a:srgbClr val="FFFFFF"/>
                        </a:gs>
                        <a:gs pos="0">
                          <a:srgbClr val="FFFFFF"/>
                        </a:gs>
                      </a:gsLst>
                      <a:lin ang="5400000" scaled="0"/>
                    </a:gradFill>
                    <a:latin typeface="Segoe UI Light" panose="020B0502040204020203" pitchFamily="34" charset="0"/>
                  </a:rPr>
                  <a:t>Master data management</a:t>
                </a:r>
              </a:p>
            </p:txBody>
          </p:sp>
          <p:grpSp>
            <p:nvGrpSpPr>
              <p:cNvPr id="15" name="Group 14"/>
              <p:cNvGrpSpPr/>
              <p:nvPr/>
            </p:nvGrpSpPr>
            <p:grpSpPr>
              <a:xfrm>
                <a:off x="5747678" y="2721597"/>
                <a:ext cx="306354" cy="420305"/>
                <a:chOff x="3759911" y="2727063"/>
                <a:chExt cx="313300" cy="429834"/>
              </a:xfrm>
              <a:solidFill>
                <a:schemeClr val="bg1"/>
              </a:solidFill>
            </p:grpSpPr>
            <p:grpSp>
              <p:nvGrpSpPr>
                <p:cNvPr id="31" name="Group 30"/>
                <p:cNvGrpSpPr/>
                <p:nvPr/>
              </p:nvGrpSpPr>
              <p:grpSpPr>
                <a:xfrm>
                  <a:off x="3759911" y="2822974"/>
                  <a:ext cx="244335" cy="333923"/>
                  <a:chOff x="1447438" y="3882427"/>
                  <a:chExt cx="656000" cy="1195540"/>
                </a:xfrm>
                <a:grpFill/>
              </p:grpSpPr>
              <p:sp>
                <p:nvSpPr>
                  <p:cNvPr id="33" name="Freeform 32"/>
                  <p:cNvSpPr/>
                  <p:nvPr/>
                </p:nvSpPr>
                <p:spPr>
                  <a:xfrm>
                    <a:off x="1447438" y="3882427"/>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02">
                      <a:lnSpc>
                        <a:spcPts val="1530"/>
                      </a:lnSpc>
                    </a:pPr>
                    <a:endParaRPr lang="en-US" sz="1836" b="1">
                      <a:solidFill>
                        <a:srgbClr val="FFFFFF"/>
                      </a:solidFill>
                      <a:latin typeface="Segoe UI Light" panose="020B0502040204020203" pitchFamily="34" charset="0"/>
                    </a:endParaRPr>
                  </a:p>
                </p:txBody>
              </p:sp>
              <p:sp>
                <p:nvSpPr>
                  <p:cNvPr id="34" name="Oval 33"/>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02">
                      <a:lnSpc>
                        <a:spcPts val="1530"/>
                      </a:lnSpc>
                    </a:pPr>
                    <a:endParaRPr lang="en-US" sz="1836" b="1">
                      <a:solidFill>
                        <a:srgbClr val="FFFFFF"/>
                      </a:solidFill>
                      <a:latin typeface="Segoe UI Light" panose="020B0502040204020203" pitchFamily="34" charset="0"/>
                    </a:endParaRPr>
                  </a:p>
                </p:txBody>
              </p:sp>
            </p:grpSp>
            <p:sp>
              <p:nvSpPr>
                <p:cNvPr id="32"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chemeClr val="tx1"/>
                </a:solidFill>
                <a:ln w="9525">
                  <a:noFill/>
                  <a:round/>
                  <a:headEnd/>
                  <a:tailEnd/>
                </a:ln>
              </p:spPr>
              <p:txBody>
                <a:bodyPr vert="horz" wrap="square" lIns="68570" tIns="34285" rIns="68570" bIns="34285" numCol="1" anchor="t" anchorCtr="0" compatLnSpc="1">
                  <a:prstTxWarp prst="textNoShape">
                    <a:avLst/>
                  </a:prstTxWarp>
                </a:bodyPr>
                <a:lstStyle/>
                <a:p>
                  <a:pPr defTabSz="699402">
                    <a:lnSpc>
                      <a:spcPts val="1530"/>
                    </a:lnSpc>
                  </a:pPr>
                  <a:endParaRPr lang="en-US" sz="1836" b="1">
                    <a:solidFill>
                      <a:srgbClr val="000000"/>
                    </a:solidFill>
                    <a:latin typeface="Segoe UI Light" panose="020B0502040204020203" pitchFamily="34" charset="0"/>
                  </a:endParaRPr>
                </a:p>
              </p:txBody>
            </p:sp>
          </p:grpSp>
          <p:grpSp>
            <p:nvGrpSpPr>
              <p:cNvPr id="16" name="Group 15"/>
              <p:cNvGrpSpPr/>
              <p:nvPr/>
            </p:nvGrpSpPr>
            <p:grpSpPr>
              <a:xfrm>
                <a:off x="7878209" y="2779784"/>
                <a:ext cx="751197" cy="309128"/>
                <a:chOff x="3375167" y="2601492"/>
                <a:chExt cx="1182903" cy="486781"/>
              </a:xfrm>
              <a:solidFill>
                <a:schemeClr val="bg1"/>
              </a:solidFill>
            </p:grpSpPr>
            <p:sp>
              <p:nvSpPr>
                <p:cNvPr id="27"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tx1"/>
                </a:solidFill>
                <a:ln>
                  <a:noFill/>
                </a:ln>
                <a:extLst/>
              </p:spPr>
              <p:txBody>
                <a:bodyPr vert="horz" wrap="square" lIns="68570" tIns="34285" rIns="68570" bIns="34285" numCol="1" anchor="t" anchorCtr="0" compatLnSpc="1">
                  <a:prstTxWarp prst="textNoShape">
                    <a:avLst/>
                  </a:prstTxWarp>
                </a:bodyPr>
                <a:lstStyle/>
                <a:p>
                  <a:pPr defTabSz="685525">
                    <a:lnSpc>
                      <a:spcPts val="1530"/>
                    </a:lnSpc>
                  </a:pPr>
                  <a:endParaRPr lang="en-US" sz="3264" b="1">
                    <a:solidFill>
                      <a:srgbClr val="000000"/>
                    </a:solidFill>
                    <a:latin typeface="Segoe UI Light" panose="020B0502040204020203" pitchFamily="34" charset="0"/>
                  </a:endParaRPr>
                </a:p>
              </p:txBody>
            </p:sp>
            <p:sp>
              <p:nvSpPr>
                <p:cNvPr id="28"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tx1"/>
                </a:solidFill>
                <a:ln>
                  <a:noFill/>
                </a:ln>
                <a:extLst/>
              </p:spPr>
              <p:txBody>
                <a:bodyPr vert="horz" wrap="square" lIns="68570" tIns="34285" rIns="68570" bIns="34285" numCol="1" anchor="t" anchorCtr="0" compatLnSpc="1">
                  <a:prstTxWarp prst="textNoShape">
                    <a:avLst/>
                  </a:prstTxWarp>
                </a:bodyPr>
                <a:lstStyle/>
                <a:p>
                  <a:pPr defTabSz="685525">
                    <a:lnSpc>
                      <a:spcPts val="1530"/>
                    </a:lnSpc>
                  </a:pPr>
                  <a:endParaRPr lang="en-US" sz="3264" b="1">
                    <a:solidFill>
                      <a:srgbClr val="000000"/>
                    </a:solidFill>
                    <a:latin typeface="Segoe UI Light" panose="020B0502040204020203" pitchFamily="34" charset="0"/>
                  </a:endParaRPr>
                </a:p>
              </p:txBody>
            </p:sp>
            <p:sp>
              <p:nvSpPr>
                <p:cNvPr id="29"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85525">
                    <a:lnSpc>
                      <a:spcPts val="1530"/>
                    </a:lnSpc>
                  </a:pPr>
                  <a:endParaRPr lang="en-US" sz="3264" b="1">
                    <a:solidFill>
                      <a:srgbClr val="000000"/>
                    </a:solidFill>
                    <a:latin typeface="Segoe UI Light" panose="020B0502040204020203" pitchFamily="34" charset="0"/>
                  </a:endParaRPr>
                </a:p>
              </p:txBody>
            </p:sp>
            <p:sp>
              <p:nvSpPr>
                <p:cNvPr id="30"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85525">
                    <a:lnSpc>
                      <a:spcPts val="1530"/>
                    </a:lnSpc>
                  </a:pPr>
                  <a:endParaRPr lang="en-US" sz="3264" b="1">
                    <a:solidFill>
                      <a:srgbClr val="000000"/>
                    </a:solidFill>
                    <a:latin typeface="Segoe UI Light" panose="020B0502040204020203" pitchFamily="34" charset="0"/>
                  </a:endParaRPr>
                </a:p>
              </p:txBody>
            </p:sp>
          </p:grpSp>
          <p:grpSp>
            <p:nvGrpSpPr>
              <p:cNvPr id="17" name="Group 16"/>
              <p:cNvGrpSpPr/>
              <p:nvPr/>
            </p:nvGrpSpPr>
            <p:grpSpPr>
              <a:xfrm>
                <a:off x="3631377" y="2766690"/>
                <a:ext cx="222743" cy="437076"/>
                <a:chOff x="403787" y="3030024"/>
                <a:chExt cx="196753" cy="386078"/>
              </a:xfrm>
            </p:grpSpPr>
            <p:grpSp>
              <p:nvGrpSpPr>
                <p:cNvPr id="23" name="Group 22"/>
                <p:cNvGrpSpPr/>
                <p:nvPr/>
              </p:nvGrpSpPr>
              <p:grpSpPr>
                <a:xfrm>
                  <a:off x="403787" y="3147207"/>
                  <a:ext cx="196753" cy="268895"/>
                  <a:chOff x="1447438" y="3993203"/>
                  <a:chExt cx="656000" cy="1195540"/>
                </a:xfrm>
              </p:grpSpPr>
              <p:sp>
                <p:nvSpPr>
                  <p:cNvPr id="25" name="Freeform 2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02">
                      <a:lnSpc>
                        <a:spcPts val="1530"/>
                      </a:lnSpc>
                    </a:pPr>
                    <a:endParaRPr lang="en-US" sz="1836" b="1">
                      <a:solidFill>
                        <a:srgbClr val="FFFFFF"/>
                      </a:solidFill>
                      <a:latin typeface="Segoe UI Light" panose="020B0502040204020203" pitchFamily="34" charset="0"/>
                    </a:endParaRPr>
                  </a:p>
                </p:txBody>
              </p:sp>
              <p:sp>
                <p:nvSpPr>
                  <p:cNvPr id="26" name="Oval 25"/>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02">
                      <a:lnSpc>
                        <a:spcPts val="1530"/>
                      </a:lnSpc>
                    </a:pPr>
                    <a:endParaRPr lang="en-US" sz="1836" b="1">
                      <a:solidFill>
                        <a:srgbClr val="FFFFFF"/>
                      </a:solidFill>
                      <a:latin typeface="Segoe UI Light" panose="020B0502040204020203" pitchFamily="34" charset="0"/>
                    </a:endParaRPr>
                  </a:p>
                </p:txBody>
              </p:sp>
            </p:grpSp>
            <p:sp>
              <p:nvSpPr>
                <p:cNvPr id="24" name="Down Arrow 23"/>
                <p:cNvSpPr/>
                <p:nvPr/>
              </p:nvSpPr>
              <p:spPr bwMode="auto">
                <a:xfrm>
                  <a:off x="421948" y="3030024"/>
                  <a:ext cx="156044" cy="159434"/>
                </a:xfrm>
                <a:prstGeom prst="downArrow">
                  <a:avLst>
                    <a:gd name="adj1" fmla="val 34740"/>
                    <a:gd name="adj2"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1" tIns="111897" rIns="139871" bIns="111897" numCol="1" spcCol="0" rtlCol="0" fromWordArt="0" anchor="t" anchorCtr="0" forceAA="0" compatLnSpc="1">
                  <a:prstTxWarp prst="textNoShape">
                    <a:avLst/>
                  </a:prstTxWarp>
                  <a:noAutofit/>
                </a:bodyPr>
                <a:lstStyle/>
                <a:p>
                  <a:pPr algn="ctr" defTabSz="713154" fontAlgn="base">
                    <a:lnSpc>
                      <a:spcPts val="1530"/>
                    </a:lnSpc>
                    <a:spcBef>
                      <a:spcPct val="0"/>
                    </a:spcBef>
                    <a:spcAft>
                      <a:spcPct val="0"/>
                    </a:spcAft>
                  </a:pPr>
                  <a:endParaRPr lang="en-US" sz="4488" b="1"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grpSp>
          <p:grpSp>
            <p:nvGrpSpPr>
              <p:cNvPr id="18" name="Group 150"/>
              <p:cNvGrpSpPr>
                <a:grpSpLocks noChangeAspect="1"/>
              </p:cNvGrpSpPr>
              <p:nvPr/>
            </p:nvGrpSpPr>
            <p:grpSpPr bwMode="auto">
              <a:xfrm>
                <a:off x="9975303" y="2762646"/>
                <a:ext cx="531758" cy="333987"/>
                <a:chOff x="3372" y="1868"/>
                <a:chExt cx="933" cy="586"/>
              </a:xfrm>
              <a:solidFill>
                <a:schemeClr val="bg1"/>
              </a:solidFill>
            </p:grpSpPr>
            <p:sp>
              <p:nvSpPr>
                <p:cNvPr id="19" name="Freeform 151"/>
                <p:cNvSpPr>
                  <a:spLocks/>
                </p:cNvSpPr>
                <p:nvPr/>
              </p:nvSpPr>
              <p:spPr bwMode="auto">
                <a:xfrm>
                  <a:off x="3372" y="1994"/>
                  <a:ext cx="933" cy="335"/>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525">
                    <a:lnSpc>
                      <a:spcPts val="1530"/>
                    </a:lnSpc>
                  </a:pPr>
                  <a:endParaRPr lang="en-US" sz="3264" b="1">
                    <a:solidFill>
                      <a:srgbClr val="000000"/>
                    </a:solidFill>
                    <a:latin typeface="Segoe UI Light" panose="020B0502040204020203" pitchFamily="34" charset="0"/>
                  </a:endParaRPr>
                </a:p>
              </p:txBody>
            </p:sp>
            <p:sp>
              <p:nvSpPr>
                <p:cNvPr id="20" name="Freeform 152"/>
                <p:cNvSpPr>
                  <a:spLocks/>
                </p:cNvSpPr>
                <p:nvPr/>
              </p:nvSpPr>
              <p:spPr bwMode="auto">
                <a:xfrm>
                  <a:off x="3627" y="2353"/>
                  <a:ext cx="470" cy="101"/>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525">
                    <a:lnSpc>
                      <a:spcPts val="1530"/>
                    </a:lnSpc>
                  </a:pPr>
                  <a:endParaRPr lang="en-US" sz="3264" b="1">
                    <a:solidFill>
                      <a:srgbClr val="000000"/>
                    </a:solidFill>
                    <a:latin typeface="Segoe UI Light" panose="020B0502040204020203" pitchFamily="34" charset="0"/>
                  </a:endParaRPr>
                </a:p>
              </p:txBody>
            </p:sp>
            <p:sp>
              <p:nvSpPr>
                <p:cNvPr id="21" name="Freeform 153"/>
                <p:cNvSpPr>
                  <a:spLocks/>
                </p:cNvSpPr>
                <p:nvPr/>
              </p:nvSpPr>
              <p:spPr bwMode="auto">
                <a:xfrm>
                  <a:off x="3627" y="2272"/>
                  <a:ext cx="470" cy="40"/>
                </a:xfrm>
                <a:custGeom>
                  <a:avLst/>
                  <a:gdLst>
                    <a:gd name="T0" fmla="*/ 89 w 199"/>
                    <a:gd name="T1" fmla="*/ 12 h 17"/>
                    <a:gd name="T2" fmla="*/ 0 w 199"/>
                    <a:gd name="T3" fmla="*/ 4 h 17"/>
                    <a:gd name="T4" fmla="*/ 0 w 199"/>
                    <a:gd name="T5" fmla="*/ 9 h 17"/>
                    <a:gd name="T6" fmla="*/ 89 w 199"/>
                    <a:gd name="T7" fmla="*/ 17 h 17"/>
                    <a:gd name="T8" fmla="*/ 199 w 199"/>
                    <a:gd name="T9" fmla="*/ 5 h 17"/>
                    <a:gd name="T10" fmla="*/ 199 w 199"/>
                    <a:gd name="T11" fmla="*/ 0 h 17"/>
                    <a:gd name="T12" fmla="*/ 89 w 199"/>
                    <a:gd name="T13" fmla="*/ 12 h 17"/>
                  </a:gdLst>
                  <a:ahLst/>
                  <a:cxnLst>
                    <a:cxn ang="0">
                      <a:pos x="T0" y="T1"/>
                    </a:cxn>
                    <a:cxn ang="0">
                      <a:pos x="T2" y="T3"/>
                    </a:cxn>
                    <a:cxn ang="0">
                      <a:pos x="T4" y="T5"/>
                    </a:cxn>
                    <a:cxn ang="0">
                      <a:pos x="T6" y="T7"/>
                    </a:cxn>
                    <a:cxn ang="0">
                      <a:pos x="T8" y="T9"/>
                    </a:cxn>
                    <a:cxn ang="0">
                      <a:pos x="T10" y="T11"/>
                    </a:cxn>
                    <a:cxn ang="0">
                      <a:pos x="T12" y="T13"/>
                    </a:cxn>
                  </a:cxnLst>
                  <a:rect l="0" t="0" r="r" b="b"/>
                  <a:pathLst>
                    <a:path w="199" h="17">
                      <a:moveTo>
                        <a:pt x="89" y="12"/>
                      </a:moveTo>
                      <a:cubicBezTo>
                        <a:pt x="57" y="12"/>
                        <a:pt x="26" y="9"/>
                        <a:pt x="0" y="4"/>
                      </a:cubicBezTo>
                      <a:cubicBezTo>
                        <a:pt x="0" y="6"/>
                        <a:pt x="0" y="8"/>
                        <a:pt x="0" y="9"/>
                      </a:cubicBezTo>
                      <a:cubicBezTo>
                        <a:pt x="28" y="14"/>
                        <a:pt x="59" y="17"/>
                        <a:pt x="89" y="17"/>
                      </a:cubicBezTo>
                      <a:cubicBezTo>
                        <a:pt x="128" y="17"/>
                        <a:pt x="167" y="13"/>
                        <a:pt x="199" y="5"/>
                      </a:cubicBezTo>
                      <a:cubicBezTo>
                        <a:pt x="199" y="3"/>
                        <a:pt x="199" y="2"/>
                        <a:pt x="199" y="0"/>
                      </a:cubicBezTo>
                      <a:cubicBezTo>
                        <a:pt x="168" y="8"/>
                        <a:pt x="131" y="12"/>
                        <a:pt x="89" y="1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525">
                    <a:lnSpc>
                      <a:spcPts val="1530"/>
                    </a:lnSpc>
                  </a:pPr>
                  <a:endParaRPr lang="en-US" sz="3264" b="1">
                    <a:solidFill>
                      <a:srgbClr val="000000"/>
                    </a:solidFill>
                    <a:latin typeface="Segoe UI Light" panose="020B0502040204020203" pitchFamily="34" charset="0"/>
                  </a:endParaRPr>
                </a:p>
              </p:txBody>
            </p:sp>
            <p:sp>
              <p:nvSpPr>
                <p:cNvPr id="22" name="Freeform 154"/>
                <p:cNvSpPr>
                  <a:spLocks noEditPoints="1"/>
                </p:cNvSpPr>
                <p:nvPr/>
              </p:nvSpPr>
              <p:spPr bwMode="auto">
                <a:xfrm>
                  <a:off x="3627" y="1868"/>
                  <a:ext cx="470" cy="366"/>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5525">
                    <a:lnSpc>
                      <a:spcPts val="1530"/>
                    </a:lnSpc>
                  </a:pPr>
                  <a:endParaRPr lang="en-US" sz="3264" b="1">
                    <a:solidFill>
                      <a:srgbClr val="000000"/>
                    </a:solidFill>
                    <a:latin typeface="Segoe UI Light" panose="020B0502040204020203" pitchFamily="34" charset="0"/>
                  </a:endParaRPr>
                </a:p>
              </p:txBody>
            </p:sp>
          </p:grpSp>
        </p:grpSp>
      </p:grpSp>
      <p:grpSp>
        <p:nvGrpSpPr>
          <p:cNvPr id="35" name="Group 34"/>
          <p:cNvGrpSpPr/>
          <p:nvPr/>
        </p:nvGrpSpPr>
        <p:grpSpPr>
          <a:xfrm>
            <a:off x="3623017" y="4061749"/>
            <a:ext cx="8482643" cy="1323152"/>
            <a:chOff x="7735505" y="3732893"/>
            <a:chExt cx="8317072" cy="1297326"/>
          </a:xfrm>
        </p:grpSpPr>
        <p:sp>
          <p:nvSpPr>
            <p:cNvPr id="36" name="Rectangle 35">
              <a:hlinkClick r:id="" action="ppaction://noaction"/>
            </p:cNvPr>
            <p:cNvSpPr/>
            <p:nvPr/>
          </p:nvSpPr>
          <p:spPr bwMode="auto">
            <a:xfrm>
              <a:off x="7735505" y="3732893"/>
              <a:ext cx="8106497" cy="1277631"/>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137141" tIns="102856" rIns="137141" bIns="34285" numCol="1" spcCol="0" rtlCol="0" fromWordArt="0" anchor="t" anchorCtr="0" forceAA="0" compatLnSpc="1">
              <a:prstTxWarp prst="textNoShape">
                <a:avLst/>
              </a:prstTxWarp>
              <a:noAutofit/>
            </a:bodyPr>
            <a:lstStyle/>
            <a:p>
              <a:pPr defTabSz="582601" fontAlgn="base">
                <a:lnSpc>
                  <a:spcPct val="90000"/>
                </a:lnSpc>
                <a:spcBef>
                  <a:spcPct val="0"/>
                </a:spcBef>
                <a:spcAft>
                  <a:spcPct val="0"/>
                </a:spcAft>
              </a:pPr>
              <a:r>
                <a:rPr lang="en-US" sz="2000" kern="0" dirty="0">
                  <a:ln>
                    <a:solidFill>
                      <a:srgbClr val="FFFFFF">
                        <a:alpha val="0"/>
                      </a:srgbClr>
                    </a:solidFill>
                  </a:ln>
                  <a:solidFill>
                    <a:srgbClr val="FFFFFF"/>
                  </a:solidFill>
                  <a:latin typeface="Segoe UI Light"/>
                </a:rPr>
                <a:t>DATA MANAGEMENT &amp; PROCESSING</a:t>
              </a:r>
            </a:p>
          </p:txBody>
        </p:sp>
        <p:grpSp>
          <p:nvGrpSpPr>
            <p:cNvPr id="37" name="Group 36"/>
            <p:cNvGrpSpPr/>
            <p:nvPr/>
          </p:nvGrpSpPr>
          <p:grpSpPr>
            <a:xfrm>
              <a:off x="7826722" y="4128611"/>
              <a:ext cx="8225855" cy="901608"/>
              <a:chOff x="3481494" y="4232584"/>
              <a:chExt cx="8573457" cy="939708"/>
            </a:xfrm>
          </p:grpSpPr>
          <p:sp>
            <p:nvSpPr>
              <p:cNvPr id="38" name="Rectangle 37"/>
              <p:cNvSpPr/>
              <p:nvPr/>
            </p:nvSpPr>
            <p:spPr bwMode="auto">
              <a:xfrm>
                <a:off x="5182813" y="4232584"/>
                <a:ext cx="1647541" cy="91918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3672"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auto">
              <a:xfrm>
                <a:off x="10285383" y="4232584"/>
                <a:ext cx="1645167" cy="91918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3672"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auto">
              <a:xfrm>
                <a:off x="3481494" y="4232584"/>
                <a:ext cx="1647541" cy="91918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3672"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auto">
              <a:xfrm>
                <a:off x="6884132" y="4232584"/>
                <a:ext cx="1645920" cy="91918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3672"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auto">
              <a:xfrm>
                <a:off x="8583830" y="4232584"/>
                <a:ext cx="1647776" cy="919181"/>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3672"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TextBox 42"/>
              <p:cNvSpPr txBox="1"/>
              <p:nvPr/>
            </p:nvSpPr>
            <p:spPr>
              <a:xfrm>
                <a:off x="5304864" y="4824041"/>
                <a:ext cx="1647541" cy="348251"/>
              </a:xfrm>
              <a:prstGeom prst="rect">
                <a:avLst/>
              </a:prstGeom>
              <a:noFill/>
            </p:spPr>
            <p:txBody>
              <a:bodyPr wrap="square" lIns="0" tIns="0" rIns="0" bIns="0" rtlCol="0" anchor="ctr">
                <a:noAutofit/>
              </a:bodyPr>
              <a:lstStyle/>
              <a:p>
                <a:pPr defTabSz="699402">
                  <a:lnSpc>
                    <a:spcPct val="90000"/>
                  </a:lnSpc>
                  <a:spcAft>
                    <a:spcPts val="450"/>
                  </a:spcAft>
                </a:pPr>
                <a:r>
                  <a:rPr lang="en-US" sz="1428" dirty="0">
                    <a:gradFill>
                      <a:gsLst>
                        <a:gs pos="85841">
                          <a:srgbClr val="FFFFFF"/>
                        </a:gs>
                        <a:gs pos="0">
                          <a:srgbClr val="FFFFFF"/>
                        </a:gs>
                      </a:gsLst>
                      <a:lin ang="5400000" scaled="0"/>
                    </a:gradFill>
                    <a:latin typeface="Segoe UI Light" panose="020B0502040204020203" pitchFamily="34" charset="0"/>
                  </a:rPr>
                  <a:t>Non-relational</a:t>
                </a:r>
              </a:p>
            </p:txBody>
          </p:sp>
          <p:sp>
            <p:nvSpPr>
              <p:cNvPr id="44" name="TextBox 43"/>
              <p:cNvSpPr txBox="1"/>
              <p:nvPr/>
            </p:nvSpPr>
            <p:spPr>
              <a:xfrm>
                <a:off x="3625826" y="4824041"/>
                <a:ext cx="1467341" cy="348251"/>
              </a:xfrm>
              <a:prstGeom prst="rect">
                <a:avLst/>
              </a:prstGeom>
              <a:noFill/>
            </p:spPr>
            <p:txBody>
              <a:bodyPr wrap="square" lIns="0" tIns="0" rIns="0" bIns="0" rtlCol="0" anchor="ctr">
                <a:noAutofit/>
              </a:bodyPr>
              <a:lstStyle/>
              <a:p>
                <a:pPr defTabSz="699402">
                  <a:lnSpc>
                    <a:spcPct val="90000"/>
                  </a:lnSpc>
                  <a:spcAft>
                    <a:spcPts val="450"/>
                  </a:spcAft>
                </a:pPr>
                <a:r>
                  <a:rPr lang="en-US" sz="1428" dirty="0">
                    <a:gradFill>
                      <a:gsLst>
                        <a:gs pos="85841">
                          <a:srgbClr val="FFFFFF"/>
                        </a:gs>
                        <a:gs pos="0">
                          <a:srgbClr val="FFFFFF"/>
                        </a:gs>
                      </a:gsLst>
                      <a:lin ang="5400000" scaled="0"/>
                    </a:gradFill>
                    <a:latin typeface="Segoe UI Light" panose="020B0502040204020203" pitchFamily="34" charset="0"/>
                  </a:rPr>
                  <a:t>Relational</a:t>
                </a:r>
              </a:p>
            </p:txBody>
          </p:sp>
          <p:sp>
            <p:nvSpPr>
              <p:cNvPr id="45" name="Flowchart: Magnetic Disk 86"/>
              <p:cNvSpPr/>
              <p:nvPr/>
            </p:nvSpPr>
            <p:spPr bwMode="auto">
              <a:xfrm flipH="1">
                <a:off x="3614454" y="4360986"/>
                <a:ext cx="254961" cy="306379"/>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1428"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6" name="TextBox 45"/>
              <p:cNvSpPr txBox="1"/>
              <p:nvPr/>
            </p:nvSpPr>
            <p:spPr>
              <a:xfrm>
                <a:off x="6981374" y="4824041"/>
                <a:ext cx="1641921" cy="348251"/>
              </a:xfrm>
              <a:prstGeom prst="rect">
                <a:avLst/>
              </a:prstGeom>
              <a:noFill/>
            </p:spPr>
            <p:txBody>
              <a:bodyPr wrap="square" lIns="0" tIns="0" rIns="0" bIns="0" rtlCol="0" anchor="ctr">
                <a:noAutofit/>
              </a:bodyPr>
              <a:lstStyle/>
              <a:p>
                <a:pPr defTabSz="699402">
                  <a:lnSpc>
                    <a:spcPct val="90000"/>
                  </a:lnSpc>
                  <a:spcAft>
                    <a:spcPts val="450"/>
                  </a:spcAft>
                </a:pPr>
                <a:r>
                  <a:rPr lang="en-US" sz="1428" dirty="0">
                    <a:gradFill>
                      <a:gsLst>
                        <a:gs pos="85841">
                          <a:srgbClr val="FFFFFF"/>
                        </a:gs>
                        <a:gs pos="0">
                          <a:srgbClr val="FFFFFF"/>
                        </a:gs>
                      </a:gsLst>
                      <a:lin ang="5400000" scaled="0"/>
                    </a:gradFill>
                    <a:latin typeface="Segoe UI Light" panose="020B0502040204020203" pitchFamily="34" charset="0"/>
                  </a:rPr>
                  <a:t>Analytical</a:t>
                </a:r>
              </a:p>
            </p:txBody>
          </p:sp>
          <p:grpSp>
            <p:nvGrpSpPr>
              <p:cNvPr id="47" name="Group 46"/>
              <p:cNvGrpSpPr/>
              <p:nvPr/>
            </p:nvGrpSpPr>
            <p:grpSpPr>
              <a:xfrm>
                <a:off x="7002737" y="4364498"/>
                <a:ext cx="331437" cy="374577"/>
                <a:chOff x="7811433" y="1426025"/>
                <a:chExt cx="800650" cy="904878"/>
              </a:xfrm>
              <a:solidFill>
                <a:schemeClr val="bg1"/>
              </a:solidFill>
            </p:grpSpPr>
            <p:sp>
              <p:nvSpPr>
                <p:cNvPr id="68" name="Freeform 67"/>
                <p:cNvSpPr>
                  <a:spLocks/>
                </p:cNvSpPr>
                <p:nvPr/>
              </p:nvSpPr>
              <p:spPr bwMode="auto">
                <a:xfrm>
                  <a:off x="7839858" y="1426025"/>
                  <a:ext cx="739062" cy="421644"/>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69" name="Freeform 68"/>
                <p:cNvSpPr>
                  <a:spLocks/>
                </p:cNvSpPr>
                <p:nvPr/>
              </p:nvSpPr>
              <p:spPr bwMode="auto">
                <a:xfrm>
                  <a:off x="8252027" y="1693699"/>
                  <a:ext cx="360056" cy="637204"/>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70" name="Freeform 69"/>
                <p:cNvSpPr>
                  <a:spLocks/>
                </p:cNvSpPr>
                <p:nvPr/>
              </p:nvSpPr>
              <p:spPr bwMode="auto">
                <a:xfrm>
                  <a:off x="7811433" y="1693699"/>
                  <a:ext cx="364793" cy="637204"/>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chemeClr val="tx1"/>
                </a:solidFill>
                <a:ln>
                  <a:noFill/>
                </a:ln>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grpSp>
          <p:sp>
            <p:nvSpPr>
              <p:cNvPr id="48" name="TextBox 47"/>
              <p:cNvSpPr txBox="1"/>
              <p:nvPr/>
            </p:nvSpPr>
            <p:spPr>
              <a:xfrm>
                <a:off x="8748637" y="4824041"/>
                <a:ext cx="1653157" cy="348251"/>
              </a:xfrm>
              <a:prstGeom prst="rect">
                <a:avLst/>
              </a:prstGeom>
              <a:noFill/>
            </p:spPr>
            <p:txBody>
              <a:bodyPr wrap="square" lIns="0" tIns="0" rIns="0" bIns="0" rtlCol="0" anchor="ctr">
                <a:noAutofit/>
              </a:bodyPr>
              <a:lstStyle/>
              <a:p>
                <a:pPr defTabSz="699402">
                  <a:lnSpc>
                    <a:spcPct val="90000"/>
                  </a:lnSpc>
                  <a:spcAft>
                    <a:spcPts val="450"/>
                  </a:spcAft>
                </a:pPr>
                <a:r>
                  <a:rPr lang="en-US" sz="1428" dirty="0">
                    <a:gradFill>
                      <a:gsLst>
                        <a:gs pos="85841">
                          <a:srgbClr val="FFFFFF"/>
                        </a:gs>
                        <a:gs pos="0">
                          <a:srgbClr val="FFFFFF"/>
                        </a:gs>
                      </a:gsLst>
                      <a:lin ang="5400000" scaled="0"/>
                    </a:gradFill>
                    <a:latin typeface="Segoe UI Light" panose="020B0502040204020203" pitchFamily="34" charset="0"/>
                  </a:rPr>
                  <a:t>Streaming</a:t>
                </a:r>
              </a:p>
            </p:txBody>
          </p:sp>
          <p:grpSp>
            <p:nvGrpSpPr>
              <p:cNvPr id="49" name="Group 48"/>
              <p:cNvGrpSpPr/>
              <p:nvPr/>
            </p:nvGrpSpPr>
            <p:grpSpPr>
              <a:xfrm>
                <a:off x="8720229" y="4374755"/>
                <a:ext cx="360967" cy="338449"/>
                <a:chOff x="-2509838" y="2986088"/>
                <a:chExt cx="738188" cy="692151"/>
              </a:xfrm>
              <a:solidFill>
                <a:schemeClr val="bg1"/>
              </a:solidFill>
            </p:grpSpPr>
            <p:sp>
              <p:nvSpPr>
                <p:cNvPr id="53" name="Freeform 7"/>
                <p:cNvSpPr>
                  <a:spLocks/>
                </p:cNvSpPr>
                <p:nvPr/>
              </p:nvSpPr>
              <p:spPr bwMode="auto">
                <a:xfrm>
                  <a:off x="-2495550" y="2986088"/>
                  <a:ext cx="79375" cy="18256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54" name="Freeform 8"/>
                <p:cNvSpPr>
                  <a:spLocks noEditPoints="1"/>
                </p:cNvSpPr>
                <p:nvPr/>
              </p:nvSpPr>
              <p:spPr bwMode="auto">
                <a:xfrm>
                  <a:off x="-2352675" y="2986088"/>
                  <a:ext cx="127000" cy="18256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55" name="Freeform 9"/>
                <p:cNvSpPr>
                  <a:spLocks/>
                </p:cNvSpPr>
                <p:nvPr/>
              </p:nvSpPr>
              <p:spPr bwMode="auto">
                <a:xfrm>
                  <a:off x="-2190750" y="2986088"/>
                  <a:ext cx="77788" cy="18256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56" name="Freeform 10"/>
                <p:cNvSpPr>
                  <a:spLocks noEditPoints="1"/>
                </p:cNvSpPr>
                <p:nvPr/>
              </p:nvSpPr>
              <p:spPr bwMode="auto">
                <a:xfrm>
                  <a:off x="-2509838" y="3240088"/>
                  <a:ext cx="127000" cy="184150"/>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57" name="Freeform 11"/>
                <p:cNvSpPr>
                  <a:spLocks/>
                </p:cNvSpPr>
                <p:nvPr/>
              </p:nvSpPr>
              <p:spPr bwMode="auto">
                <a:xfrm>
                  <a:off x="-2338388" y="3240088"/>
                  <a:ext cx="79375" cy="180975"/>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58" name="Freeform 12"/>
                <p:cNvSpPr>
                  <a:spLocks noEditPoints="1"/>
                </p:cNvSpPr>
                <p:nvPr/>
              </p:nvSpPr>
              <p:spPr bwMode="auto">
                <a:xfrm>
                  <a:off x="-2206625" y="3240088"/>
                  <a:ext cx="127000" cy="184150"/>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59" name="Freeform 13"/>
                <p:cNvSpPr>
                  <a:spLocks noEditPoints="1"/>
                </p:cNvSpPr>
                <p:nvPr/>
              </p:nvSpPr>
              <p:spPr bwMode="auto">
                <a:xfrm>
                  <a:off x="-2509838" y="3495676"/>
                  <a:ext cx="127000" cy="18256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60" name="Freeform 14"/>
                <p:cNvSpPr>
                  <a:spLocks noEditPoints="1"/>
                </p:cNvSpPr>
                <p:nvPr/>
              </p:nvSpPr>
              <p:spPr bwMode="auto">
                <a:xfrm>
                  <a:off x="-2352675" y="3495676"/>
                  <a:ext cx="127000" cy="18256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61" name="Freeform 15"/>
                <p:cNvSpPr>
                  <a:spLocks/>
                </p:cNvSpPr>
                <p:nvPr/>
              </p:nvSpPr>
              <p:spPr bwMode="auto">
                <a:xfrm>
                  <a:off x="-2190750" y="3495676"/>
                  <a:ext cx="77788" cy="179388"/>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62" name="Freeform 16"/>
                <p:cNvSpPr>
                  <a:spLocks/>
                </p:cNvSpPr>
                <p:nvPr/>
              </p:nvSpPr>
              <p:spPr bwMode="auto">
                <a:xfrm>
                  <a:off x="-1884363" y="2986088"/>
                  <a:ext cx="79375" cy="18256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63" name="Freeform 17"/>
                <p:cNvSpPr>
                  <a:spLocks noEditPoints="1"/>
                </p:cNvSpPr>
                <p:nvPr/>
              </p:nvSpPr>
              <p:spPr bwMode="auto">
                <a:xfrm>
                  <a:off x="-1898650" y="3240088"/>
                  <a:ext cx="127000" cy="184150"/>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64" name="Freeform 18"/>
                <p:cNvSpPr>
                  <a:spLocks noEditPoints="1"/>
                </p:cNvSpPr>
                <p:nvPr/>
              </p:nvSpPr>
              <p:spPr bwMode="auto">
                <a:xfrm>
                  <a:off x="-1898650" y="3495676"/>
                  <a:ext cx="127000" cy="18256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65" name="Freeform 19"/>
                <p:cNvSpPr>
                  <a:spLocks noEditPoints="1"/>
                </p:cNvSpPr>
                <p:nvPr/>
              </p:nvSpPr>
              <p:spPr bwMode="auto">
                <a:xfrm>
                  <a:off x="-2055813" y="2986088"/>
                  <a:ext cx="127000" cy="18256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66" name="Freeform 20"/>
                <p:cNvSpPr>
                  <a:spLocks/>
                </p:cNvSpPr>
                <p:nvPr/>
              </p:nvSpPr>
              <p:spPr bwMode="auto">
                <a:xfrm>
                  <a:off x="-2041525" y="3240088"/>
                  <a:ext cx="79375" cy="180975"/>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sp>
              <p:nvSpPr>
                <p:cNvPr id="67" name="Freeform 21"/>
                <p:cNvSpPr>
                  <a:spLocks noEditPoints="1"/>
                </p:cNvSpPr>
                <p:nvPr/>
              </p:nvSpPr>
              <p:spPr bwMode="auto">
                <a:xfrm>
                  <a:off x="-2055813" y="3495676"/>
                  <a:ext cx="127000" cy="18256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99402"/>
                  <a:endParaRPr lang="en-US" sz="1428">
                    <a:solidFill>
                      <a:srgbClr val="000000"/>
                    </a:solidFill>
                    <a:latin typeface="Segoe UI Light" panose="020B0502040204020203" pitchFamily="34" charset="0"/>
                  </a:endParaRPr>
                </a:p>
              </p:txBody>
            </p:sp>
          </p:grpSp>
          <p:sp>
            <p:nvSpPr>
              <p:cNvPr id="50" name="TextBox 49"/>
              <p:cNvSpPr txBox="1"/>
              <p:nvPr/>
            </p:nvSpPr>
            <p:spPr>
              <a:xfrm>
                <a:off x="10401794" y="4824041"/>
                <a:ext cx="1653157" cy="348251"/>
              </a:xfrm>
              <a:prstGeom prst="rect">
                <a:avLst/>
              </a:prstGeom>
              <a:noFill/>
            </p:spPr>
            <p:txBody>
              <a:bodyPr wrap="square" lIns="0" tIns="0" rIns="0" bIns="0" rtlCol="0" anchor="ctr">
                <a:noAutofit/>
              </a:bodyPr>
              <a:lstStyle/>
              <a:p>
                <a:pPr defTabSz="699402">
                  <a:lnSpc>
                    <a:spcPct val="90000"/>
                  </a:lnSpc>
                  <a:spcAft>
                    <a:spcPts val="450"/>
                  </a:spcAft>
                </a:pPr>
                <a:r>
                  <a:rPr lang="en-US" sz="1428" dirty="0">
                    <a:gradFill>
                      <a:gsLst>
                        <a:gs pos="85841">
                          <a:srgbClr val="FFFFFF"/>
                        </a:gs>
                        <a:gs pos="0">
                          <a:srgbClr val="FFFFFF"/>
                        </a:gs>
                      </a:gsLst>
                      <a:lin ang="5400000" scaled="0"/>
                    </a:gradFill>
                    <a:latin typeface="Segoe UI Light" panose="020B0502040204020203" pitchFamily="34" charset="0"/>
                  </a:rPr>
                  <a:t>Internal &amp; External</a:t>
                </a:r>
              </a:p>
            </p:txBody>
          </p:sp>
          <p:sp>
            <p:nvSpPr>
              <p:cNvPr id="51" name="TextBox 50"/>
              <p:cNvSpPr txBox="1"/>
              <p:nvPr/>
            </p:nvSpPr>
            <p:spPr>
              <a:xfrm>
                <a:off x="10321135" y="4348176"/>
                <a:ext cx="502313" cy="530093"/>
              </a:xfrm>
              <a:prstGeom prst="rect">
                <a:avLst/>
              </a:prstGeom>
              <a:noFill/>
            </p:spPr>
            <p:txBody>
              <a:bodyPr wrap="square" lIns="0" tIns="0" rIns="0" bIns="0" rtlCol="0">
                <a:spAutoFit/>
              </a:bodyPr>
              <a:lstStyle/>
              <a:p>
                <a:pPr algn="ctr" defTabSz="699188">
                  <a:lnSpc>
                    <a:spcPct val="90000"/>
                  </a:lnSpc>
                  <a:defRPr/>
                </a:pPr>
                <a:r>
                  <a:rPr lang="en-US" sz="3672" b="1" kern="0" dirty="0">
                    <a:solidFill>
                      <a:srgbClr val="FFFFFF"/>
                    </a:solidFill>
                    <a:latin typeface="Segoe UI Light" panose="020B0502040204020203" pitchFamily="34" charset="0"/>
                    <a:sym typeface="Wingdings" panose="05000000000000000000" pitchFamily="2" charset="2"/>
                  </a:rPr>
                  <a:t></a:t>
                </a:r>
                <a:endParaRPr lang="en-US" sz="3672" b="1" kern="0" dirty="0">
                  <a:solidFill>
                    <a:srgbClr val="FFFFFF"/>
                  </a:solidFill>
                  <a:latin typeface="Segoe UI Light" panose="020B0502040204020203" pitchFamily="34" charset="0"/>
                </a:endParaRPr>
              </a:p>
            </p:txBody>
          </p:sp>
          <p:pic>
            <p:nvPicPr>
              <p:cNvPr id="52" name="Picture 51"/>
              <p:cNvPicPr>
                <a:picLocks noChangeAspect="1"/>
              </p:cNvPicPr>
              <p:nvPr/>
            </p:nvPicPr>
            <p:blipFill>
              <a:blip r:embed="rId5" cstate="screen">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61185" y="4335313"/>
                <a:ext cx="583778" cy="417342"/>
              </a:xfrm>
              <a:prstGeom prst="rect">
                <a:avLst/>
              </a:prstGeom>
              <a:ln>
                <a:noFill/>
              </a:ln>
            </p:spPr>
          </p:pic>
        </p:grpSp>
      </p:grpSp>
      <p:grpSp>
        <p:nvGrpSpPr>
          <p:cNvPr id="71" name="Group 70"/>
          <p:cNvGrpSpPr/>
          <p:nvPr/>
        </p:nvGrpSpPr>
        <p:grpSpPr>
          <a:xfrm>
            <a:off x="3623017" y="5481881"/>
            <a:ext cx="8360909" cy="1297571"/>
            <a:chOff x="7735505" y="5349076"/>
            <a:chExt cx="8197714" cy="1272244"/>
          </a:xfrm>
        </p:grpSpPr>
        <p:sp>
          <p:nvSpPr>
            <p:cNvPr id="72" name="Rectangle 71">
              <a:hlinkClick r:id="" action="ppaction://noaction"/>
            </p:cNvPr>
            <p:cNvSpPr/>
            <p:nvPr/>
          </p:nvSpPr>
          <p:spPr bwMode="auto">
            <a:xfrm>
              <a:off x="7735505" y="5349076"/>
              <a:ext cx="8106497" cy="1272244"/>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137141" tIns="102856" rIns="137141" bIns="34285" numCol="1" spcCol="0" rtlCol="0" fromWordArt="0" anchor="t" anchorCtr="0" forceAA="0" compatLnSpc="1">
              <a:prstTxWarp prst="textNoShape">
                <a:avLst/>
              </a:prstTxWarp>
              <a:noAutofit/>
            </a:bodyPr>
            <a:lstStyle/>
            <a:p>
              <a:pPr defTabSz="582601" fontAlgn="base">
                <a:lnSpc>
                  <a:spcPct val="90000"/>
                </a:lnSpc>
                <a:spcBef>
                  <a:spcPct val="0"/>
                </a:spcBef>
                <a:spcAft>
                  <a:spcPct val="0"/>
                </a:spcAft>
              </a:pPr>
              <a:r>
                <a:rPr lang="en-US" sz="2000" kern="0" dirty="0">
                  <a:ln>
                    <a:solidFill>
                      <a:srgbClr val="FFFFFF">
                        <a:alpha val="0"/>
                      </a:srgbClr>
                    </a:solidFill>
                  </a:ln>
                  <a:solidFill>
                    <a:srgbClr val="FFFFFF"/>
                  </a:solidFill>
                  <a:latin typeface="Segoe UI Light"/>
                </a:rPr>
                <a:t>INFRASTRUCTURE</a:t>
              </a:r>
            </a:p>
          </p:txBody>
        </p:sp>
        <p:grpSp>
          <p:nvGrpSpPr>
            <p:cNvPr id="73" name="Group 72"/>
            <p:cNvGrpSpPr/>
            <p:nvPr/>
          </p:nvGrpSpPr>
          <p:grpSpPr>
            <a:xfrm>
              <a:off x="7826722" y="5719160"/>
              <a:ext cx="8106497" cy="881914"/>
              <a:chOff x="3481494" y="5810925"/>
              <a:chExt cx="8449056" cy="919181"/>
            </a:xfrm>
          </p:grpSpPr>
          <p:sp>
            <p:nvSpPr>
              <p:cNvPr id="74" name="Rectangle 73"/>
              <p:cNvSpPr/>
              <p:nvPr/>
            </p:nvSpPr>
            <p:spPr bwMode="auto">
              <a:xfrm>
                <a:off x="5608998" y="5810925"/>
                <a:ext cx="2066544" cy="91918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p:cNvSpPr/>
              <p:nvPr/>
            </p:nvSpPr>
            <p:spPr bwMode="auto">
              <a:xfrm>
                <a:off x="3481494" y="5810925"/>
                <a:ext cx="2066544" cy="91918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p:cNvSpPr/>
              <p:nvPr/>
            </p:nvSpPr>
            <p:spPr bwMode="auto">
              <a:xfrm>
                <a:off x="7736502" y="5810925"/>
                <a:ext cx="2066544" cy="91918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9864006" y="5810925"/>
                <a:ext cx="2066544" cy="91918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TextBox 77"/>
              <p:cNvSpPr txBox="1"/>
              <p:nvPr/>
            </p:nvSpPr>
            <p:spPr>
              <a:xfrm>
                <a:off x="5739802" y="6355251"/>
                <a:ext cx="1647541" cy="348251"/>
              </a:xfrm>
              <a:prstGeom prst="rect">
                <a:avLst/>
              </a:prstGeom>
              <a:noFill/>
            </p:spPr>
            <p:txBody>
              <a:bodyPr wrap="square" lIns="0" tIns="0" rIns="0" bIns="0" rtlCol="0" anchor="ctr">
                <a:noAutofit/>
              </a:bodyPr>
              <a:lstStyle/>
              <a:p>
                <a:pPr defTabSz="699402">
                  <a:lnSpc>
                    <a:spcPct val="90000"/>
                  </a:lnSpc>
                  <a:spcAft>
                    <a:spcPts val="450"/>
                  </a:spcAft>
                </a:pPr>
                <a:r>
                  <a:rPr lang="en-US" sz="1632" dirty="0">
                    <a:gradFill>
                      <a:gsLst>
                        <a:gs pos="85841">
                          <a:srgbClr val="FFFFFF"/>
                        </a:gs>
                        <a:gs pos="0">
                          <a:srgbClr val="FFFFFF"/>
                        </a:gs>
                      </a:gsLst>
                      <a:lin ang="5400000" scaled="0"/>
                    </a:gradFill>
                    <a:latin typeface="Segoe UI Light" panose="020B0502040204020203" pitchFamily="34" charset="0"/>
                  </a:rPr>
                  <a:t>Virtualization</a:t>
                </a:r>
              </a:p>
            </p:txBody>
          </p:sp>
          <p:sp>
            <p:nvSpPr>
              <p:cNvPr id="79" name="TextBox 78"/>
              <p:cNvSpPr txBox="1"/>
              <p:nvPr/>
            </p:nvSpPr>
            <p:spPr>
              <a:xfrm>
                <a:off x="3655969" y="6355251"/>
                <a:ext cx="1467341" cy="348251"/>
              </a:xfrm>
              <a:prstGeom prst="rect">
                <a:avLst/>
              </a:prstGeom>
              <a:noFill/>
            </p:spPr>
            <p:txBody>
              <a:bodyPr wrap="square" lIns="0" tIns="0" rIns="0" bIns="0" rtlCol="0" anchor="ctr">
                <a:noAutofit/>
              </a:bodyPr>
              <a:lstStyle/>
              <a:p>
                <a:pPr defTabSz="699402">
                  <a:lnSpc>
                    <a:spcPct val="90000"/>
                  </a:lnSpc>
                  <a:spcAft>
                    <a:spcPts val="450"/>
                  </a:spcAft>
                </a:pPr>
                <a:r>
                  <a:rPr lang="en-US" sz="1632" dirty="0">
                    <a:gradFill>
                      <a:gsLst>
                        <a:gs pos="85841">
                          <a:srgbClr val="FFFFFF"/>
                        </a:gs>
                        <a:gs pos="0">
                          <a:srgbClr val="FFFFFF"/>
                        </a:gs>
                      </a:gsLst>
                      <a:lin ang="5400000" scaled="0"/>
                    </a:gradFill>
                    <a:latin typeface="Segoe UI Light" panose="020B0502040204020203" pitchFamily="34" charset="0"/>
                  </a:rPr>
                  <a:t>Scalability</a:t>
                </a:r>
              </a:p>
            </p:txBody>
          </p:sp>
          <p:sp>
            <p:nvSpPr>
              <p:cNvPr id="80" name="TextBox 79"/>
              <p:cNvSpPr txBox="1"/>
              <p:nvPr/>
            </p:nvSpPr>
            <p:spPr>
              <a:xfrm>
                <a:off x="7878209" y="6355250"/>
                <a:ext cx="1924838" cy="374855"/>
              </a:xfrm>
              <a:prstGeom prst="rect">
                <a:avLst/>
              </a:prstGeom>
              <a:noFill/>
            </p:spPr>
            <p:txBody>
              <a:bodyPr wrap="square" lIns="0" tIns="0" rIns="0" bIns="0" rtlCol="0" anchor="ctr">
                <a:noAutofit/>
              </a:bodyPr>
              <a:lstStyle/>
              <a:p>
                <a:pPr defTabSz="699402">
                  <a:lnSpc>
                    <a:spcPct val="90000"/>
                  </a:lnSpc>
                  <a:spcAft>
                    <a:spcPts val="450"/>
                  </a:spcAft>
                </a:pPr>
                <a:r>
                  <a:rPr lang="en-US" sz="1632" dirty="0">
                    <a:gradFill>
                      <a:gsLst>
                        <a:gs pos="85841">
                          <a:srgbClr val="FFFFFF"/>
                        </a:gs>
                        <a:gs pos="0">
                          <a:srgbClr val="FFFFFF"/>
                        </a:gs>
                      </a:gsLst>
                      <a:lin ang="5400000" scaled="0"/>
                    </a:gradFill>
                    <a:latin typeface="Segoe UI Light" panose="020B0502040204020203" pitchFamily="34" charset="0"/>
                  </a:rPr>
                  <a:t>Security and Identity</a:t>
                </a:r>
              </a:p>
            </p:txBody>
          </p:sp>
          <p:sp>
            <p:nvSpPr>
              <p:cNvPr id="81" name="TextBox 80"/>
              <p:cNvSpPr txBox="1"/>
              <p:nvPr/>
            </p:nvSpPr>
            <p:spPr>
              <a:xfrm>
                <a:off x="9991204" y="6355251"/>
                <a:ext cx="1915719" cy="348251"/>
              </a:xfrm>
              <a:prstGeom prst="rect">
                <a:avLst/>
              </a:prstGeom>
              <a:noFill/>
            </p:spPr>
            <p:txBody>
              <a:bodyPr wrap="square" lIns="0" tIns="0" rIns="0" bIns="0" rtlCol="0" anchor="ctr">
                <a:noAutofit/>
              </a:bodyPr>
              <a:lstStyle/>
              <a:p>
                <a:pPr defTabSz="699402">
                  <a:lnSpc>
                    <a:spcPct val="90000"/>
                  </a:lnSpc>
                  <a:spcAft>
                    <a:spcPts val="450"/>
                  </a:spcAft>
                </a:pPr>
                <a:r>
                  <a:rPr lang="en-US" sz="1632" dirty="0">
                    <a:gradFill>
                      <a:gsLst>
                        <a:gs pos="85841">
                          <a:srgbClr val="FFFFFF"/>
                        </a:gs>
                        <a:gs pos="0">
                          <a:srgbClr val="FFFFFF"/>
                        </a:gs>
                      </a:gsLst>
                      <a:lin ang="5400000" scaled="0"/>
                    </a:gradFill>
                    <a:latin typeface="Segoe UI Light" panose="020B0502040204020203" pitchFamily="34" charset="0"/>
                  </a:rPr>
                  <a:t>Quality of service</a:t>
                </a:r>
              </a:p>
            </p:txBody>
          </p:sp>
          <p:grpSp>
            <p:nvGrpSpPr>
              <p:cNvPr id="82" name="Group 81"/>
              <p:cNvGrpSpPr/>
              <p:nvPr/>
            </p:nvGrpSpPr>
            <p:grpSpPr bwMode="black">
              <a:xfrm>
                <a:off x="5734262" y="5921957"/>
                <a:ext cx="533369" cy="411734"/>
                <a:chOff x="7010400" y="2133600"/>
                <a:chExt cx="1379538" cy="1065213"/>
              </a:xfrm>
              <a:solidFill>
                <a:schemeClr val="bg1"/>
              </a:solidFill>
            </p:grpSpPr>
            <p:sp>
              <p:nvSpPr>
                <p:cNvPr id="8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8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8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8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9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9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9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9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9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95"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96"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97"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98"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99"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00"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01"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02"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03"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04"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05"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06"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07"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08"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09"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10"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11"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12"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13"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1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1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1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1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1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1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2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2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2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2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2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2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2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2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2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2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3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3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sp>
              <p:nvSpPr>
                <p:cNvPr id="13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4285" rIns="68570" bIns="34285" numCol="1" anchor="t" anchorCtr="0" compatLnSpc="1">
                  <a:prstTxWarp prst="textNoShape">
                    <a:avLst/>
                  </a:prstTxWarp>
                </a:bodyPr>
                <a:lstStyle/>
                <a:p>
                  <a:pPr algn="ctr" defTabSz="914089"/>
                  <a:endParaRPr lang="en-US" sz="1199">
                    <a:gradFill>
                      <a:gsLst>
                        <a:gs pos="0">
                          <a:srgbClr val="FFFFFF"/>
                        </a:gs>
                        <a:gs pos="100000">
                          <a:srgbClr val="FFFFFF"/>
                        </a:gs>
                      </a:gsLst>
                      <a:lin ang="5400000" scaled="0"/>
                    </a:gradFill>
                  </a:endParaRPr>
                </a:p>
              </p:txBody>
            </p:sp>
          </p:grpSp>
          <p:sp>
            <p:nvSpPr>
              <p:cNvPr id="83" name="Freeform 26"/>
              <p:cNvSpPr>
                <a:spLocks noEditPoints="1"/>
              </p:cNvSpPr>
              <p:nvPr/>
            </p:nvSpPr>
            <p:spPr bwMode="auto">
              <a:xfrm rot="5400000">
                <a:off x="3577941" y="5909518"/>
                <a:ext cx="360770" cy="385651"/>
              </a:xfrm>
              <a:custGeom>
                <a:avLst/>
                <a:gdLst>
                  <a:gd name="T0" fmla="*/ 179 w 215"/>
                  <a:gd name="T1" fmla="*/ 35 h 230"/>
                  <a:gd name="T2" fmla="*/ 179 w 215"/>
                  <a:gd name="T3" fmla="*/ 133 h 230"/>
                  <a:gd name="T4" fmla="*/ 178 w 215"/>
                  <a:gd name="T5" fmla="*/ 133 h 230"/>
                  <a:gd name="T6" fmla="*/ 178 w 215"/>
                  <a:gd name="T7" fmla="*/ 135 h 230"/>
                  <a:gd name="T8" fmla="*/ 182 w 215"/>
                  <a:gd name="T9" fmla="*/ 139 h 230"/>
                  <a:gd name="T10" fmla="*/ 212 w 215"/>
                  <a:gd name="T11" fmla="*/ 139 h 230"/>
                  <a:gd name="T12" fmla="*/ 214 w 215"/>
                  <a:gd name="T13" fmla="*/ 142 h 230"/>
                  <a:gd name="T14" fmla="*/ 146 w 215"/>
                  <a:gd name="T15" fmla="*/ 228 h 230"/>
                  <a:gd name="T16" fmla="*/ 143 w 215"/>
                  <a:gd name="T17" fmla="*/ 230 h 230"/>
                  <a:gd name="T18" fmla="*/ 141 w 215"/>
                  <a:gd name="T19" fmla="*/ 228 h 230"/>
                  <a:gd name="T20" fmla="*/ 75 w 215"/>
                  <a:gd name="T21" fmla="*/ 142 h 230"/>
                  <a:gd name="T22" fmla="*/ 76 w 215"/>
                  <a:gd name="T23" fmla="*/ 139 h 230"/>
                  <a:gd name="T24" fmla="*/ 106 w 215"/>
                  <a:gd name="T25" fmla="*/ 139 h 230"/>
                  <a:gd name="T26" fmla="*/ 110 w 215"/>
                  <a:gd name="T27" fmla="*/ 135 h 230"/>
                  <a:gd name="T28" fmla="*/ 110 w 215"/>
                  <a:gd name="T29" fmla="*/ 133 h 230"/>
                  <a:gd name="T30" fmla="*/ 110 w 215"/>
                  <a:gd name="T31" fmla="*/ 133 h 230"/>
                  <a:gd name="T32" fmla="*/ 110 w 215"/>
                  <a:gd name="T33" fmla="*/ 96 h 230"/>
                  <a:gd name="T34" fmla="*/ 139 w 215"/>
                  <a:gd name="T35" fmla="*/ 96 h 230"/>
                  <a:gd name="T36" fmla="*/ 146 w 215"/>
                  <a:gd name="T37" fmla="*/ 92 h 230"/>
                  <a:gd name="T38" fmla="*/ 144 w 215"/>
                  <a:gd name="T39" fmla="*/ 84 h 230"/>
                  <a:gd name="T40" fmla="*/ 109 w 215"/>
                  <a:gd name="T41" fmla="*/ 38 h 230"/>
                  <a:gd name="T42" fmla="*/ 109 w 215"/>
                  <a:gd name="T43" fmla="*/ 35 h 230"/>
                  <a:gd name="T44" fmla="*/ 113 w 215"/>
                  <a:gd name="T45" fmla="*/ 31 h 230"/>
                  <a:gd name="T46" fmla="*/ 175 w 215"/>
                  <a:gd name="T47" fmla="*/ 31 h 230"/>
                  <a:gd name="T48" fmla="*/ 179 w 215"/>
                  <a:gd name="T49" fmla="*/ 35 h 230"/>
                  <a:gd name="T50" fmla="*/ 108 w 215"/>
                  <a:gd name="T51" fmla="*/ 90 h 230"/>
                  <a:gd name="T52" fmla="*/ 139 w 215"/>
                  <a:gd name="T53" fmla="*/ 90 h 230"/>
                  <a:gd name="T54" fmla="*/ 140 w 215"/>
                  <a:gd name="T55" fmla="*/ 87 h 230"/>
                  <a:gd name="T56" fmla="*/ 74 w 215"/>
                  <a:gd name="T57" fmla="*/ 1 h 230"/>
                  <a:gd name="T58" fmla="*/ 71 w 215"/>
                  <a:gd name="T59" fmla="*/ 0 h 230"/>
                  <a:gd name="T60" fmla="*/ 69 w 215"/>
                  <a:gd name="T61" fmla="*/ 1 h 230"/>
                  <a:gd name="T62" fmla="*/ 1 w 215"/>
                  <a:gd name="T63" fmla="*/ 87 h 230"/>
                  <a:gd name="T64" fmla="*/ 3 w 215"/>
                  <a:gd name="T65" fmla="*/ 90 h 230"/>
                  <a:gd name="T66" fmla="*/ 32 w 215"/>
                  <a:gd name="T67" fmla="*/ 90 h 230"/>
                  <a:gd name="T68" fmla="*/ 36 w 215"/>
                  <a:gd name="T69" fmla="*/ 94 h 230"/>
                  <a:gd name="T70" fmla="*/ 36 w 215"/>
                  <a:gd name="T71" fmla="*/ 190 h 230"/>
                  <a:gd name="T72" fmla="*/ 40 w 215"/>
                  <a:gd name="T73" fmla="*/ 194 h 230"/>
                  <a:gd name="T74" fmla="*/ 101 w 215"/>
                  <a:gd name="T75" fmla="*/ 194 h 230"/>
                  <a:gd name="T76" fmla="*/ 105 w 215"/>
                  <a:gd name="T77" fmla="*/ 190 h 230"/>
                  <a:gd name="T78" fmla="*/ 105 w 215"/>
                  <a:gd name="T79" fmla="*/ 190 h 230"/>
                  <a:gd name="T80" fmla="*/ 70 w 215"/>
                  <a:gd name="T81" fmla="*/ 146 h 230"/>
                  <a:gd name="T82" fmla="*/ 69 w 215"/>
                  <a:gd name="T83" fmla="*/ 138 h 230"/>
                  <a:gd name="T84" fmla="*/ 76 w 215"/>
                  <a:gd name="T85" fmla="*/ 134 h 230"/>
                  <a:gd name="T86" fmla="*/ 105 w 215"/>
                  <a:gd name="T87" fmla="*/ 134 h 230"/>
                  <a:gd name="T88" fmla="*/ 105 w 215"/>
                  <a:gd name="T89" fmla="*/ 94 h 230"/>
                  <a:gd name="T90" fmla="*/ 108 w 215"/>
                  <a:gd name="T91" fmla="*/ 9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5" h="230">
                    <a:moveTo>
                      <a:pt x="179" y="35"/>
                    </a:moveTo>
                    <a:cubicBezTo>
                      <a:pt x="179" y="133"/>
                      <a:pt x="179" y="133"/>
                      <a:pt x="179" y="133"/>
                    </a:cubicBezTo>
                    <a:cubicBezTo>
                      <a:pt x="178" y="133"/>
                      <a:pt x="178" y="133"/>
                      <a:pt x="178" y="133"/>
                    </a:cubicBezTo>
                    <a:cubicBezTo>
                      <a:pt x="178" y="135"/>
                      <a:pt x="178" y="135"/>
                      <a:pt x="178" y="135"/>
                    </a:cubicBezTo>
                    <a:cubicBezTo>
                      <a:pt x="178" y="138"/>
                      <a:pt x="180" y="139"/>
                      <a:pt x="182" y="139"/>
                    </a:cubicBezTo>
                    <a:cubicBezTo>
                      <a:pt x="212" y="139"/>
                      <a:pt x="212" y="139"/>
                      <a:pt x="212" y="139"/>
                    </a:cubicBezTo>
                    <a:cubicBezTo>
                      <a:pt x="214" y="139"/>
                      <a:pt x="215" y="141"/>
                      <a:pt x="214" y="142"/>
                    </a:cubicBezTo>
                    <a:cubicBezTo>
                      <a:pt x="146" y="228"/>
                      <a:pt x="146" y="228"/>
                      <a:pt x="146" y="228"/>
                    </a:cubicBezTo>
                    <a:cubicBezTo>
                      <a:pt x="145" y="229"/>
                      <a:pt x="144" y="230"/>
                      <a:pt x="143" y="230"/>
                    </a:cubicBezTo>
                    <a:cubicBezTo>
                      <a:pt x="142" y="230"/>
                      <a:pt x="142" y="229"/>
                      <a:pt x="141" y="228"/>
                    </a:cubicBezTo>
                    <a:cubicBezTo>
                      <a:pt x="75" y="142"/>
                      <a:pt x="75" y="142"/>
                      <a:pt x="75" y="142"/>
                    </a:cubicBezTo>
                    <a:cubicBezTo>
                      <a:pt x="73" y="141"/>
                      <a:pt x="74" y="139"/>
                      <a:pt x="76" y="139"/>
                    </a:cubicBezTo>
                    <a:cubicBezTo>
                      <a:pt x="106" y="139"/>
                      <a:pt x="106" y="139"/>
                      <a:pt x="106" y="139"/>
                    </a:cubicBezTo>
                    <a:cubicBezTo>
                      <a:pt x="108" y="139"/>
                      <a:pt x="110" y="138"/>
                      <a:pt x="110" y="135"/>
                    </a:cubicBezTo>
                    <a:cubicBezTo>
                      <a:pt x="110" y="133"/>
                      <a:pt x="110" y="133"/>
                      <a:pt x="110" y="133"/>
                    </a:cubicBezTo>
                    <a:cubicBezTo>
                      <a:pt x="110" y="133"/>
                      <a:pt x="110" y="133"/>
                      <a:pt x="110" y="133"/>
                    </a:cubicBezTo>
                    <a:cubicBezTo>
                      <a:pt x="110" y="96"/>
                      <a:pt x="110" y="96"/>
                      <a:pt x="110" y="96"/>
                    </a:cubicBezTo>
                    <a:cubicBezTo>
                      <a:pt x="139" y="96"/>
                      <a:pt x="139" y="96"/>
                      <a:pt x="139" y="96"/>
                    </a:cubicBezTo>
                    <a:cubicBezTo>
                      <a:pt x="142" y="96"/>
                      <a:pt x="144" y="94"/>
                      <a:pt x="146" y="92"/>
                    </a:cubicBezTo>
                    <a:cubicBezTo>
                      <a:pt x="147" y="89"/>
                      <a:pt x="146" y="86"/>
                      <a:pt x="144" y="84"/>
                    </a:cubicBezTo>
                    <a:cubicBezTo>
                      <a:pt x="109" y="38"/>
                      <a:pt x="109" y="38"/>
                      <a:pt x="109" y="38"/>
                    </a:cubicBezTo>
                    <a:cubicBezTo>
                      <a:pt x="109" y="35"/>
                      <a:pt x="109" y="35"/>
                      <a:pt x="109" y="35"/>
                    </a:cubicBezTo>
                    <a:cubicBezTo>
                      <a:pt x="109" y="33"/>
                      <a:pt x="111" y="31"/>
                      <a:pt x="113" y="31"/>
                    </a:cubicBezTo>
                    <a:cubicBezTo>
                      <a:pt x="175" y="31"/>
                      <a:pt x="175" y="31"/>
                      <a:pt x="175" y="31"/>
                    </a:cubicBezTo>
                    <a:cubicBezTo>
                      <a:pt x="177" y="31"/>
                      <a:pt x="179" y="33"/>
                      <a:pt x="179" y="35"/>
                    </a:cubicBezTo>
                    <a:close/>
                    <a:moveTo>
                      <a:pt x="108" y="90"/>
                    </a:moveTo>
                    <a:cubicBezTo>
                      <a:pt x="139" y="90"/>
                      <a:pt x="139" y="90"/>
                      <a:pt x="139" y="90"/>
                    </a:cubicBezTo>
                    <a:cubicBezTo>
                      <a:pt x="141" y="90"/>
                      <a:pt x="141" y="89"/>
                      <a:pt x="140" y="87"/>
                    </a:cubicBezTo>
                    <a:cubicBezTo>
                      <a:pt x="74" y="1"/>
                      <a:pt x="74" y="1"/>
                      <a:pt x="74" y="1"/>
                    </a:cubicBezTo>
                    <a:cubicBezTo>
                      <a:pt x="73" y="0"/>
                      <a:pt x="72" y="0"/>
                      <a:pt x="71" y="0"/>
                    </a:cubicBezTo>
                    <a:cubicBezTo>
                      <a:pt x="71" y="0"/>
                      <a:pt x="70" y="0"/>
                      <a:pt x="69" y="1"/>
                    </a:cubicBezTo>
                    <a:cubicBezTo>
                      <a:pt x="1" y="87"/>
                      <a:pt x="1" y="87"/>
                      <a:pt x="1" y="87"/>
                    </a:cubicBezTo>
                    <a:cubicBezTo>
                      <a:pt x="0" y="89"/>
                      <a:pt x="1" y="90"/>
                      <a:pt x="3" y="90"/>
                    </a:cubicBezTo>
                    <a:cubicBezTo>
                      <a:pt x="32" y="90"/>
                      <a:pt x="32" y="90"/>
                      <a:pt x="32" y="90"/>
                    </a:cubicBezTo>
                    <a:cubicBezTo>
                      <a:pt x="34" y="90"/>
                      <a:pt x="36" y="92"/>
                      <a:pt x="36" y="94"/>
                    </a:cubicBezTo>
                    <a:cubicBezTo>
                      <a:pt x="36" y="190"/>
                      <a:pt x="36" y="190"/>
                      <a:pt x="36" y="190"/>
                    </a:cubicBezTo>
                    <a:cubicBezTo>
                      <a:pt x="36" y="193"/>
                      <a:pt x="38" y="194"/>
                      <a:pt x="40" y="194"/>
                    </a:cubicBezTo>
                    <a:cubicBezTo>
                      <a:pt x="101" y="194"/>
                      <a:pt x="101" y="194"/>
                      <a:pt x="101" y="194"/>
                    </a:cubicBezTo>
                    <a:cubicBezTo>
                      <a:pt x="103" y="194"/>
                      <a:pt x="105" y="193"/>
                      <a:pt x="105" y="190"/>
                    </a:cubicBezTo>
                    <a:cubicBezTo>
                      <a:pt x="105" y="190"/>
                      <a:pt x="105" y="190"/>
                      <a:pt x="105" y="190"/>
                    </a:cubicBezTo>
                    <a:cubicBezTo>
                      <a:pt x="70" y="146"/>
                      <a:pt x="70" y="146"/>
                      <a:pt x="70" y="146"/>
                    </a:cubicBezTo>
                    <a:cubicBezTo>
                      <a:pt x="68" y="143"/>
                      <a:pt x="68" y="140"/>
                      <a:pt x="69" y="138"/>
                    </a:cubicBezTo>
                    <a:cubicBezTo>
                      <a:pt x="70" y="135"/>
                      <a:pt x="73" y="134"/>
                      <a:pt x="76" y="134"/>
                    </a:cubicBezTo>
                    <a:cubicBezTo>
                      <a:pt x="105" y="134"/>
                      <a:pt x="105" y="134"/>
                      <a:pt x="105" y="134"/>
                    </a:cubicBezTo>
                    <a:cubicBezTo>
                      <a:pt x="105" y="94"/>
                      <a:pt x="105" y="94"/>
                      <a:pt x="105" y="94"/>
                    </a:cubicBezTo>
                    <a:cubicBezTo>
                      <a:pt x="105" y="92"/>
                      <a:pt x="106" y="90"/>
                      <a:pt x="108" y="90"/>
                    </a:cubicBezTo>
                    <a:close/>
                  </a:path>
                </a:pathLst>
              </a:custGeom>
              <a:solidFill>
                <a:schemeClr val="tx1"/>
              </a:solidFill>
              <a:ln>
                <a:noFill/>
              </a:ln>
              <a:extLst/>
            </p:spPr>
            <p:txBody>
              <a:bodyPr vert="horz" wrap="square" lIns="68570" tIns="34285" rIns="68570" bIns="34285" numCol="1" anchor="t" anchorCtr="0" compatLnSpc="1">
                <a:prstTxWarp prst="textNoShape">
                  <a:avLst/>
                </a:prstTxWarp>
              </a:bodyPr>
              <a:lstStyle/>
              <a:p>
                <a:pPr defTabSz="685525"/>
                <a:endParaRPr lang="en-US" sz="1275">
                  <a:solidFill>
                    <a:srgbClr val="000000"/>
                  </a:solidFill>
                </a:endParaRPr>
              </a:p>
            </p:txBody>
          </p:sp>
          <p:sp>
            <p:nvSpPr>
              <p:cNvPr id="84" name="Freeform 25"/>
              <p:cNvSpPr>
                <a:spLocks noEditPoints="1"/>
              </p:cNvSpPr>
              <p:nvPr/>
            </p:nvSpPr>
            <p:spPr bwMode="black">
              <a:xfrm>
                <a:off x="9954356" y="5965843"/>
                <a:ext cx="424060" cy="36107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0" tIns="30860" rIns="61720" bIns="30860" numCol="1" anchor="t" anchorCtr="0" compatLnSpc="1">
                <a:prstTxWarp prst="textNoShape">
                  <a:avLst/>
                </a:prstTxWarp>
              </a:bodyPr>
              <a:lstStyle/>
              <a:p>
                <a:pPr algn="ctr" defTabSz="685659"/>
                <a:endParaRPr lang="en-US" sz="1199">
                  <a:gradFill>
                    <a:gsLst>
                      <a:gs pos="0">
                        <a:srgbClr val="FFFFFF"/>
                      </a:gs>
                      <a:gs pos="100000">
                        <a:srgbClr val="FFFFFF"/>
                      </a:gs>
                    </a:gsLst>
                    <a:lin ang="5400000" scaled="0"/>
                  </a:gradFill>
                </a:endParaRPr>
              </a:p>
            </p:txBody>
          </p:sp>
          <p:sp>
            <p:nvSpPr>
              <p:cNvPr id="85" name="Freeform 154"/>
              <p:cNvSpPr>
                <a:spLocks noEditPoints="1"/>
              </p:cNvSpPr>
              <p:nvPr/>
            </p:nvSpPr>
            <p:spPr bwMode="black">
              <a:xfrm>
                <a:off x="7864604" y="5932457"/>
                <a:ext cx="407405" cy="407299"/>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tx1"/>
              </a:solidFill>
              <a:ln>
                <a:noFill/>
              </a:ln>
              <a:extLst/>
            </p:spPr>
            <p:txBody>
              <a:bodyPr vert="horz" wrap="square" lIns="0" tIns="30860" rIns="61720" bIns="30860" numCol="1" anchor="t" anchorCtr="0" compatLnSpc="1">
                <a:prstTxWarp prst="textNoShape">
                  <a:avLst/>
                </a:prstTxWarp>
              </a:bodyPr>
              <a:lstStyle/>
              <a:p>
                <a:pPr algn="ctr" defTabSz="685659"/>
                <a:endParaRPr lang="en-US" sz="1199">
                  <a:gradFill>
                    <a:gsLst>
                      <a:gs pos="0">
                        <a:srgbClr val="FFFFFF"/>
                      </a:gs>
                      <a:gs pos="100000">
                        <a:srgbClr val="FFFFFF"/>
                      </a:gs>
                    </a:gsLst>
                    <a:lin ang="5400000" scaled="0"/>
                  </a:gradFill>
                </a:endParaRPr>
              </a:p>
            </p:txBody>
          </p:sp>
        </p:grpSp>
      </p:grpSp>
      <p:grpSp>
        <p:nvGrpSpPr>
          <p:cNvPr id="133" name="Group 132"/>
          <p:cNvGrpSpPr/>
          <p:nvPr/>
        </p:nvGrpSpPr>
        <p:grpSpPr>
          <a:xfrm>
            <a:off x="3623017" y="1054702"/>
            <a:ext cx="8360909" cy="1328954"/>
            <a:chOff x="7735505" y="496207"/>
            <a:chExt cx="8197714" cy="1303014"/>
          </a:xfrm>
        </p:grpSpPr>
        <p:grpSp>
          <p:nvGrpSpPr>
            <p:cNvPr id="134" name="Group 133"/>
            <p:cNvGrpSpPr/>
            <p:nvPr/>
          </p:nvGrpSpPr>
          <p:grpSpPr>
            <a:xfrm>
              <a:off x="7735505" y="496207"/>
              <a:ext cx="8197714" cy="1303014"/>
              <a:chOff x="7735505" y="496207"/>
              <a:chExt cx="8197714" cy="1303014"/>
            </a:xfrm>
          </p:grpSpPr>
          <p:sp>
            <p:nvSpPr>
              <p:cNvPr id="140" name="Rectangle 139">
                <a:hlinkClick r:id="" action="ppaction://noaction"/>
              </p:cNvPr>
              <p:cNvSpPr/>
              <p:nvPr/>
            </p:nvSpPr>
            <p:spPr bwMode="auto">
              <a:xfrm>
                <a:off x="7735505" y="496207"/>
                <a:ext cx="8106497" cy="1276068"/>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137141" tIns="102856" rIns="137141" bIns="34285" numCol="1" spcCol="0" rtlCol="0" fromWordArt="0" anchor="t" anchorCtr="0" forceAA="0" compatLnSpc="1">
                <a:prstTxWarp prst="textNoShape">
                  <a:avLst/>
                </a:prstTxWarp>
                <a:noAutofit/>
              </a:bodyPr>
              <a:lstStyle/>
              <a:p>
                <a:pPr defTabSz="582601" fontAlgn="base">
                  <a:lnSpc>
                    <a:spcPct val="90000"/>
                  </a:lnSpc>
                  <a:spcBef>
                    <a:spcPct val="0"/>
                  </a:spcBef>
                  <a:spcAft>
                    <a:spcPct val="0"/>
                  </a:spcAft>
                  <a:defRPr/>
                </a:pPr>
                <a:r>
                  <a:rPr lang="en-US" sz="2000" kern="0" dirty="0">
                    <a:ln>
                      <a:solidFill>
                        <a:srgbClr val="FFFFFF">
                          <a:alpha val="0"/>
                        </a:srgbClr>
                      </a:solidFill>
                    </a:ln>
                    <a:solidFill>
                      <a:srgbClr val="FFFFFF"/>
                    </a:solidFill>
                    <a:latin typeface="Segoe UI Light"/>
                  </a:rPr>
                  <a:t>BI &amp; ANALYTICS</a:t>
                </a:r>
              </a:p>
            </p:txBody>
          </p:sp>
          <p:grpSp>
            <p:nvGrpSpPr>
              <p:cNvPr id="141" name="Group 140"/>
              <p:cNvGrpSpPr/>
              <p:nvPr/>
            </p:nvGrpSpPr>
            <p:grpSpPr>
              <a:xfrm>
                <a:off x="7826722" y="890362"/>
                <a:ext cx="8106497" cy="908859"/>
                <a:chOff x="3481494" y="1075900"/>
                <a:chExt cx="8449056" cy="947265"/>
              </a:xfrm>
            </p:grpSpPr>
            <p:sp>
              <p:nvSpPr>
                <p:cNvPr id="142" name="Rectangle 141"/>
                <p:cNvSpPr/>
                <p:nvPr/>
              </p:nvSpPr>
              <p:spPr bwMode="auto">
                <a:xfrm>
                  <a:off x="3481494" y="1075900"/>
                  <a:ext cx="1647541" cy="9191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3672"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143" name="Rectangle 142"/>
                <p:cNvSpPr/>
                <p:nvPr/>
              </p:nvSpPr>
              <p:spPr bwMode="auto">
                <a:xfrm>
                  <a:off x="6884132" y="1075900"/>
                  <a:ext cx="1645920" cy="9191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3672"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144" name="Rectangle 143"/>
                <p:cNvSpPr/>
                <p:nvPr/>
              </p:nvSpPr>
              <p:spPr bwMode="auto">
                <a:xfrm>
                  <a:off x="5182813" y="1075900"/>
                  <a:ext cx="1647541" cy="9191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3672"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145" name="Rectangle 144"/>
                <p:cNvSpPr/>
                <p:nvPr/>
              </p:nvSpPr>
              <p:spPr bwMode="auto">
                <a:xfrm>
                  <a:off x="10285383" y="1075900"/>
                  <a:ext cx="1645167" cy="9191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3672"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146" name="Rectangle 145"/>
                <p:cNvSpPr/>
                <p:nvPr/>
              </p:nvSpPr>
              <p:spPr bwMode="auto">
                <a:xfrm>
                  <a:off x="8583830" y="1075900"/>
                  <a:ext cx="1647776" cy="9191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38" fontAlgn="base">
                    <a:lnSpc>
                      <a:spcPct val="90000"/>
                    </a:lnSpc>
                    <a:spcBef>
                      <a:spcPct val="0"/>
                    </a:spcBef>
                    <a:spcAft>
                      <a:spcPct val="0"/>
                    </a:spcAft>
                  </a:pPr>
                  <a:endParaRPr lang="en-US" sz="3672"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147" name="TextBox 146"/>
                <p:cNvSpPr txBox="1"/>
                <p:nvPr/>
              </p:nvSpPr>
              <p:spPr>
                <a:xfrm>
                  <a:off x="3660498" y="1674914"/>
                  <a:ext cx="1467341" cy="348251"/>
                </a:xfrm>
                <a:prstGeom prst="rect">
                  <a:avLst/>
                </a:prstGeom>
                <a:noFill/>
              </p:spPr>
              <p:txBody>
                <a:bodyPr wrap="square" lIns="0" tIns="0" rIns="0" bIns="0" rtlCol="0" anchor="ctr">
                  <a:noAutofit/>
                </a:bodyPr>
                <a:lstStyle/>
                <a:p>
                  <a:pPr defTabSz="699402">
                    <a:lnSpc>
                      <a:spcPct val="90000"/>
                    </a:lnSpc>
                    <a:spcAft>
                      <a:spcPts val="450"/>
                    </a:spcAft>
                  </a:pPr>
                  <a:r>
                    <a:rPr lang="en-US" sz="1428" dirty="0">
                      <a:gradFill>
                        <a:gsLst>
                          <a:gs pos="85841">
                            <a:srgbClr val="FFFFFF"/>
                          </a:gs>
                          <a:gs pos="0">
                            <a:srgbClr val="FFFFFF"/>
                          </a:gs>
                        </a:gsLst>
                        <a:lin ang="5400000" scaled="0"/>
                      </a:gradFill>
                      <a:latin typeface="Segoe UI Light" panose="020B0502040204020203" pitchFamily="34" charset="0"/>
                    </a:rPr>
                    <a:t>Self-service</a:t>
                  </a:r>
                </a:p>
              </p:txBody>
            </p:sp>
            <p:sp>
              <p:nvSpPr>
                <p:cNvPr id="148" name="Rectangle 9"/>
                <p:cNvSpPr/>
                <p:nvPr/>
              </p:nvSpPr>
              <p:spPr>
                <a:xfrm>
                  <a:off x="7003330" y="1203819"/>
                  <a:ext cx="410095" cy="381731"/>
                </a:xfrm>
                <a:custGeom>
                  <a:avLst/>
                  <a:gdLst/>
                  <a:ahLst/>
                  <a:cxnLst/>
                  <a:rect l="l" t="t" r="r" b="b"/>
                  <a:pathLst>
                    <a:path w="2085506" h="1941291">
                      <a:moveTo>
                        <a:pt x="923919" y="1068937"/>
                      </a:moveTo>
                      <a:lnTo>
                        <a:pt x="1006950" y="1168743"/>
                      </a:lnTo>
                      <a:lnTo>
                        <a:pt x="933447" y="1673774"/>
                      </a:lnTo>
                      <a:lnTo>
                        <a:pt x="1038222" y="1752355"/>
                      </a:lnTo>
                      <a:lnTo>
                        <a:pt x="1152522" y="1673774"/>
                      </a:lnTo>
                      <a:lnTo>
                        <a:pt x="1074714" y="1173917"/>
                      </a:lnTo>
                      <a:lnTo>
                        <a:pt x="1162049" y="1068937"/>
                      </a:lnTo>
                      <a:close/>
                      <a:moveTo>
                        <a:pt x="1672989" y="236416"/>
                      </a:moveTo>
                      <a:cubicBezTo>
                        <a:pt x="1729991" y="234645"/>
                        <a:pt x="1788645" y="250692"/>
                        <a:pt x="1820935" y="291456"/>
                      </a:cubicBezTo>
                      <a:cubicBezTo>
                        <a:pt x="1886549" y="374289"/>
                        <a:pt x="1896329" y="546953"/>
                        <a:pt x="1819411" y="663253"/>
                      </a:cubicBezTo>
                      <a:cubicBezTo>
                        <a:pt x="1802047" y="692856"/>
                        <a:pt x="1782198" y="710032"/>
                        <a:pt x="1781802" y="750317"/>
                      </a:cubicBezTo>
                      <a:cubicBezTo>
                        <a:pt x="1785433" y="786439"/>
                        <a:pt x="1812136" y="815345"/>
                        <a:pt x="1847223" y="822228"/>
                      </a:cubicBezTo>
                      <a:cubicBezTo>
                        <a:pt x="1981951" y="878546"/>
                        <a:pt x="2037815" y="946352"/>
                        <a:pt x="2062824" y="1028986"/>
                      </a:cubicBezTo>
                      <a:cubicBezTo>
                        <a:pt x="2079909" y="1069029"/>
                        <a:pt x="2088127" y="1116405"/>
                        <a:pt x="2084766" y="1171632"/>
                      </a:cubicBezTo>
                      <a:cubicBezTo>
                        <a:pt x="2080443" y="1194789"/>
                        <a:pt x="2076121" y="1200143"/>
                        <a:pt x="2034827" y="1232884"/>
                      </a:cubicBezTo>
                      <a:cubicBezTo>
                        <a:pt x="1938610" y="1303678"/>
                        <a:pt x="1839233" y="1339358"/>
                        <a:pt x="1743002" y="1348298"/>
                      </a:cubicBezTo>
                      <a:cubicBezTo>
                        <a:pt x="1670263" y="1154566"/>
                        <a:pt x="1523265" y="1036464"/>
                        <a:pt x="1311275" y="982248"/>
                      </a:cubicBezTo>
                      <a:cubicBezTo>
                        <a:pt x="1340966" y="918566"/>
                        <a:pt x="1388865" y="868163"/>
                        <a:pt x="1498755" y="822228"/>
                      </a:cubicBezTo>
                      <a:cubicBezTo>
                        <a:pt x="1533841" y="815345"/>
                        <a:pt x="1560544" y="786439"/>
                        <a:pt x="1564175" y="750317"/>
                      </a:cubicBezTo>
                      <a:cubicBezTo>
                        <a:pt x="1563780" y="710032"/>
                        <a:pt x="1543931" y="692856"/>
                        <a:pt x="1526567" y="663253"/>
                      </a:cubicBezTo>
                      <a:cubicBezTo>
                        <a:pt x="1449649" y="546953"/>
                        <a:pt x="1459429" y="374289"/>
                        <a:pt x="1525042" y="291456"/>
                      </a:cubicBezTo>
                      <a:cubicBezTo>
                        <a:pt x="1557332" y="250692"/>
                        <a:pt x="1615986" y="234645"/>
                        <a:pt x="1672989" y="236416"/>
                      </a:cubicBezTo>
                      <a:close/>
                      <a:moveTo>
                        <a:pt x="412517" y="236416"/>
                      </a:moveTo>
                      <a:cubicBezTo>
                        <a:pt x="469520" y="234645"/>
                        <a:pt x="528174" y="250692"/>
                        <a:pt x="560464" y="291456"/>
                      </a:cubicBezTo>
                      <a:cubicBezTo>
                        <a:pt x="626077" y="374289"/>
                        <a:pt x="635857" y="546953"/>
                        <a:pt x="558939" y="663253"/>
                      </a:cubicBezTo>
                      <a:cubicBezTo>
                        <a:pt x="541575" y="692856"/>
                        <a:pt x="521726" y="710032"/>
                        <a:pt x="521331" y="750317"/>
                      </a:cubicBezTo>
                      <a:cubicBezTo>
                        <a:pt x="524962" y="786439"/>
                        <a:pt x="551665" y="815345"/>
                        <a:pt x="586751" y="822228"/>
                      </a:cubicBezTo>
                      <a:cubicBezTo>
                        <a:pt x="696641" y="868163"/>
                        <a:pt x="744540" y="918566"/>
                        <a:pt x="774231" y="982248"/>
                      </a:cubicBezTo>
                      <a:cubicBezTo>
                        <a:pt x="562241" y="1036464"/>
                        <a:pt x="415243" y="1154566"/>
                        <a:pt x="342504" y="1348298"/>
                      </a:cubicBezTo>
                      <a:cubicBezTo>
                        <a:pt x="246273" y="1339358"/>
                        <a:pt x="146896" y="1303678"/>
                        <a:pt x="50679" y="1232884"/>
                      </a:cubicBezTo>
                      <a:cubicBezTo>
                        <a:pt x="9385" y="1200143"/>
                        <a:pt x="5063" y="1194789"/>
                        <a:pt x="740" y="1171632"/>
                      </a:cubicBezTo>
                      <a:cubicBezTo>
                        <a:pt x="-2621" y="1116405"/>
                        <a:pt x="5597" y="1069029"/>
                        <a:pt x="22682" y="1028986"/>
                      </a:cubicBezTo>
                      <a:cubicBezTo>
                        <a:pt x="47691" y="946352"/>
                        <a:pt x="103555" y="878546"/>
                        <a:pt x="238283" y="822228"/>
                      </a:cubicBezTo>
                      <a:cubicBezTo>
                        <a:pt x="273370" y="815345"/>
                        <a:pt x="300073" y="786439"/>
                        <a:pt x="303704" y="750317"/>
                      </a:cubicBezTo>
                      <a:cubicBezTo>
                        <a:pt x="303308" y="710032"/>
                        <a:pt x="283459" y="692856"/>
                        <a:pt x="266095" y="663253"/>
                      </a:cubicBezTo>
                      <a:cubicBezTo>
                        <a:pt x="189177" y="546953"/>
                        <a:pt x="198957" y="374289"/>
                        <a:pt x="264571" y="291456"/>
                      </a:cubicBezTo>
                      <a:cubicBezTo>
                        <a:pt x="296861" y="250692"/>
                        <a:pt x="355515" y="234645"/>
                        <a:pt x="412517" y="236416"/>
                      </a:cubicBezTo>
                      <a:close/>
                      <a:moveTo>
                        <a:pt x="1042984" y="229"/>
                      </a:moveTo>
                      <a:cubicBezTo>
                        <a:pt x="1142114" y="-2850"/>
                        <a:pt x="1244116" y="25056"/>
                        <a:pt x="1300270" y="95947"/>
                      </a:cubicBezTo>
                      <a:cubicBezTo>
                        <a:pt x="1414375" y="239997"/>
                        <a:pt x="1431383" y="540267"/>
                        <a:pt x="1297619" y="742517"/>
                      </a:cubicBezTo>
                      <a:cubicBezTo>
                        <a:pt x="1267422" y="793999"/>
                        <a:pt x="1232903" y="823869"/>
                        <a:pt x="1232216" y="893926"/>
                      </a:cubicBezTo>
                      <a:cubicBezTo>
                        <a:pt x="1238530" y="956743"/>
                        <a:pt x="1284968" y="1007012"/>
                        <a:pt x="1345985" y="1018982"/>
                      </a:cubicBezTo>
                      <a:cubicBezTo>
                        <a:pt x="1580284" y="1116921"/>
                        <a:pt x="1677433" y="1234839"/>
                        <a:pt x="1720926" y="1378544"/>
                      </a:cubicBezTo>
                      <a:cubicBezTo>
                        <a:pt x="1750637" y="1448180"/>
                        <a:pt x="1764928" y="1530569"/>
                        <a:pt x="1759083" y="1626611"/>
                      </a:cubicBezTo>
                      <a:cubicBezTo>
                        <a:pt x="1751566" y="1666881"/>
                        <a:pt x="1744049" y="1676193"/>
                        <a:pt x="1672238" y="1733131"/>
                      </a:cubicBezTo>
                      <a:cubicBezTo>
                        <a:pt x="1463807" y="1886488"/>
                        <a:pt x="1246847" y="1945096"/>
                        <a:pt x="1042984" y="1941101"/>
                      </a:cubicBezTo>
                      <a:cubicBezTo>
                        <a:pt x="839121" y="1945096"/>
                        <a:pt x="622161" y="1886488"/>
                        <a:pt x="413730" y="1733131"/>
                      </a:cubicBezTo>
                      <a:cubicBezTo>
                        <a:pt x="341919" y="1676193"/>
                        <a:pt x="334402" y="1666881"/>
                        <a:pt x="326885" y="1626611"/>
                      </a:cubicBezTo>
                      <a:cubicBezTo>
                        <a:pt x="321040" y="1530569"/>
                        <a:pt x="335331" y="1448180"/>
                        <a:pt x="365042" y="1378544"/>
                      </a:cubicBezTo>
                      <a:cubicBezTo>
                        <a:pt x="408535" y="1234839"/>
                        <a:pt x="505684" y="1116921"/>
                        <a:pt x="739983" y="1018982"/>
                      </a:cubicBezTo>
                      <a:cubicBezTo>
                        <a:pt x="801000" y="1007012"/>
                        <a:pt x="847438" y="956743"/>
                        <a:pt x="853752" y="893926"/>
                      </a:cubicBezTo>
                      <a:cubicBezTo>
                        <a:pt x="853065" y="823869"/>
                        <a:pt x="818546" y="793999"/>
                        <a:pt x="788349" y="742517"/>
                      </a:cubicBezTo>
                      <a:cubicBezTo>
                        <a:pt x="654585" y="540267"/>
                        <a:pt x="671593" y="239997"/>
                        <a:pt x="785698" y="95947"/>
                      </a:cubicBezTo>
                      <a:cubicBezTo>
                        <a:pt x="841852" y="25056"/>
                        <a:pt x="943854" y="-2850"/>
                        <a:pt x="1042984" y="229"/>
                      </a:cubicBezTo>
                      <a:close/>
                    </a:path>
                  </a:pathLst>
                </a:custGeom>
                <a:solidFill>
                  <a:schemeClr val="tx1"/>
                </a:solidFill>
                <a:ln w="10795" cap="flat" cmpd="sng" algn="ctr">
                  <a:noFill/>
                  <a:prstDash val="solid"/>
                </a:ln>
                <a:effectLst/>
              </p:spPr>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99188">
                    <a:defRPr/>
                  </a:pPr>
                  <a:endParaRPr lang="en-US" sz="1428" kern="0" dirty="0" err="1">
                    <a:solidFill>
                      <a:srgbClr val="FFFFFF"/>
                    </a:solidFill>
                    <a:latin typeface="Segoe UI Light" panose="020B0502040204020203" pitchFamily="34" charset="0"/>
                  </a:endParaRPr>
                </a:p>
              </p:txBody>
            </p:sp>
            <p:sp>
              <p:nvSpPr>
                <p:cNvPr id="149" name="TextBox 148"/>
                <p:cNvSpPr txBox="1"/>
                <p:nvPr/>
              </p:nvSpPr>
              <p:spPr>
                <a:xfrm>
                  <a:off x="6978834" y="1674914"/>
                  <a:ext cx="1053642" cy="348251"/>
                </a:xfrm>
                <a:prstGeom prst="rect">
                  <a:avLst/>
                </a:prstGeom>
                <a:noFill/>
              </p:spPr>
              <p:txBody>
                <a:bodyPr wrap="square" lIns="0" tIns="0" rIns="0" bIns="0" rtlCol="0" anchor="ctr">
                  <a:noAutofit/>
                </a:bodyPr>
                <a:lstStyle/>
                <a:p>
                  <a:pPr defTabSz="699402">
                    <a:lnSpc>
                      <a:spcPct val="90000"/>
                    </a:lnSpc>
                    <a:spcAft>
                      <a:spcPts val="450"/>
                    </a:spcAft>
                  </a:pPr>
                  <a:r>
                    <a:rPr lang="en-US" sz="1428" dirty="0">
                      <a:gradFill>
                        <a:gsLst>
                          <a:gs pos="85841">
                            <a:srgbClr val="FFFFFF"/>
                          </a:gs>
                          <a:gs pos="0">
                            <a:srgbClr val="FFFFFF"/>
                          </a:gs>
                        </a:gsLst>
                        <a:lin ang="5400000" scaled="0"/>
                      </a:gradFill>
                      <a:latin typeface="Segoe UI Light" panose="020B0502040204020203" pitchFamily="34" charset="0"/>
                    </a:rPr>
                    <a:t>Collaboration</a:t>
                  </a:r>
                </a:p>
              </p:txBody>
            </p:sp>
            <p:sp>
              <p:nvSpPr>
                <p:cNvPr id="150" name="Donut 80"/>
                <p:cNvSpPr/>
                <p:nvPr/>
              </p:nvSpPr>
              <p:spPr bwMode="auto">
                <a:xfrm>
                  <a:off x="5277057" y="1198284"/>
                  <a:ext cx="457205" cy="364920"/>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chemeClr val="tx1"/>
                </a:solidFill>
                <a:ln w="9525" cap="flat" cmpd="sng" algn="ctr">
                  <a:noFill/>
                  <a:prstDash val="solid"/>
                </a:ln>
                <a:effectLst/>
              </p:spPr>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461" fontAlgn="base">
                    <a:spcBef>
                      <a:spcPct val="0"/>
                    </a:spcBef>
                    <a:spcAft>
                      <a:spcPct val="0"/>
                    </a:spcAft>
                    <a:defRPr/>
                  </a:pPr>
                  <a:endParaRPr lang="en-US" sz="1428" kern="0" spc="-38"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151" name="TextBox 150"/>
                <p:cNvSpPr txBox="1"/>
                <p:nvPr/>
              </p:nvSpPr>
              <p:spPr>
                <a:xfrm>
                  <a:off x="5234394" y="1674914"/>
                  <a:ext cx="1641921" cy="348251"/>
                </a:xfrm>
                <a:prstGeom prst="rect">
                  <a:avLst/>
                </a:prstGeom>
                <a:noFill/>
              </p:spPr>
              <p:txBody>
                <a:bodyPr wrap="square" lIns="0" tIns="0" rIns="0" bIns="0" rtlCol="0" anchor="ctr">
                  <a:noAutofit/>
                </a:bodyPr>
                <a:lstStyle/>
                <a:p>
                  <a:pPr defTabSz="699402">
                    <a:lnSpc>
                      <a:spcPct val="90000"/>
                    </a:lnSpc>
                    <a:spcAft>
                      <a:spcPts val="450"/>
                    </a:spcAft>
                  </a:pPr>
                  <a:r>
                    <a:rPr lang="en-US" sz="1428" dirty="0">
                      <a:gradFill>
                        <a:gsLst>
                          <a:gs pos="85841">
                            <a:srgbClr val="FFFFFF"/>
                          </a:gs>
                          <a:gs pos="0">
                            <a:srgbClr val="FFFFFF"/>
                          </a:gs>
                        </a:gsLst>
                        <a:lin ang="5400000" scaled="0"/>
                      </a:gradFill>
                      <a:latin typeface="Segoe UI Light" panose="020B0502040204020203" pitchFamily="34" charset="0"/>
                    </a:rPr>
                    <a:t>Corporate</a:t>
                  </a:r>
                </a:p>
              </p:txBody>
            </p:sp>
            <p:sp>
              <p:nvSpPr>
                <p:cNvPr id="152" name="TextBox 151"/>
                <p:cNvSpPr txBox="1"/>
                <p:nvPr/>
              </p:nvSpPr>
              <p:spPr>
                <a:xfrm>
                  <a:off x="10378417" y="1674914"/>
                  <a:ext cx="933382" cy="348251"/>
                </a:xfrm>
                <a:prstGeom prst="rect">
                  <a:avLst/>
                </a:prstGeom>
                <a:noFill/>
              </p:spPr>
              <p:txBody>
                <a:bodyPr wrap="square" lIns="0" tIns="0" rIns="0" bIns="0" rtlCol="0" anchor="ctr">
                  <a:noAutofit/>
                </a:bodyPr>
                <a:lstStyle/>
                <a:p>
                  <a:pPr defTabSz="699402">
                    <a:lnSpc>
                      <a:spcPct val="90000"/>
                    </a:lnSpc>
                    <a:spcAft>
                      <a:spcPts val="450"/>
                    </a:spcAft>
                  </a:pPr>
                  <a:r>
                    <a:rPr lang="en-US" sz="1428" dirty="0">
                      <a:gradFill>
                        <a:gsLst>
                          <a:gs pos="85841">
                            <a:srgbClr val="FFFFFF"/>
                          </a:gs>
                          <a:gs pos="0">
                            <a:srgbClr val="FFFFFF"/>
                          </a:gs>
                        </a:gsLst>
                        <a:lin ang="5400000" scaled="0"/>
                      </a:gradFill>
                      <a:latin typeface="Segoe UI Light" panose="020B0502040204020203" pitchFamily="34" charset="0"/>
                    </a:rPr>
                    <a:t>Predictive</a:t>
                  </a:r>
                </a:p>
              </p:txBody>
            </p:sp>
            <p:grpSp>
              <p:nvGrpSpPr>
                <p:cNvPr id="153" name="Group 152"/>
                <p:cNvGrpSpPr/>
                <p:nvPr/>
              </p:nvGrpSpPr>
              <p:grpSpPr>
                <a:xfrm>
                  <a:off x="10378416" y="1198284"/>
                  <a:ext cx="251800" cy="430175"/>
                  <a:chOff x="17050290" y="1780365"/>
                  <a:chExt cx="251800" cy="430175"/>
                </a:xfrm>
                <a:solidFill>
                  <a:schemeClr val="bg1"/>
                </a:solidFill>
              </p:grpSpPr>
              <p:sp>
                <p:nvSpPr>
                  <p:cNvPr id="157" name="Freeform 156"/>
                  <p:cNvSpPr>
                    <a:spLocks/>
                  </p:cNvSpPr>
                  <p:nvPr/>
                </p:nvSpPr>
                <p:spPr bwMode="auto">
                  <a:xfrm>
                    <a:off x="17081286" y="2095823"/>
                    <a:ext cx="192694" cy="11471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428215">
                      <a:defRPr/>
                    </a:pPr>
                    <a:endParaRPr lang="en-US" sz="1071" b="1" kern="0" cap="all" dirty="0">
                      <a:solidFill>
                        <a:srgbClr val="000000"/>
                      </a:solidFill>
                      <a:latin typeface="Segoe UI Light" panose="020B0502040204020203" pitchFamily="34" charset="0"/>
                    </a:endParaRPr>
                  </a:p>
                </p:txBody>
              </p:sp>
              <p:sp>
                <p:nvSpPr>
                  <p:cNvPr id="158" name="Freeform 157"/>
                  <p:cNvSpPr>
                    <a:spLocks noEditPoints="1"/>
                  </p:cNvSpPr>
                  <p:nvPr/>
                </p:nvSpPr>
                <p:spPr bwMode="auto">
                  <a:xfrm>
                    <a:off x="17050290" y="1780365"/>
                    <a:ext cx="251800" cy="307569"/>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428215">
                      <a:defRPr/>
                    </a:pPr>
                    <a:endParaRPr lang="en-US" sz="1071" b="1" kern="0" cap="all" dirty="0">
                      <a:solidFill>
                        <a:srgbClr val="000000"/>
                      </a:solidFill>
                      <a:latin typeface="Segoe UI Light" panose="020B0502040204020203" pitchFamily="34" charset="0"/>
                    </a:endParaRPr>
                  </a:p>
                </p:txBody>
              </p:sp>
            </p:grpSp>
            <p:sp>
              <p:nvSpPr>
                <p:cNvPr id="154" name="TextBox 153"/>
                <p:cNvSpPr txBox="1"/>
                <p:nvPr/>
              </p:nvSpPr>
              <p:spPr>
                <a:xfrm>
                  <a:off x="8668971" y="1674914"/>
                  <a:ext cx="1641921" cy="348251"/>
                </a:xfrm>
                <a:prstGeom prst="rect">
                  <a:avLst/>
                </a:prstGeom>
                <a:noFill/>
              </p:spPr>
              <p:txBody>
                <a:bodyPr wrap="square" lIns="0" tIns="0" rIns="0" bIns="0" rtlCol="0" anchor="ctr">
                  <a:noAutofit/>
                </a:bodyPr>
                <a:lstStyle/>
                <a:p>
                  <a:pPr defTabSz="699402">
                    <a:lnSpc>
                      <a:spcPct val="90000"/>
                    </a:lnSpc>
                    <a:spcAft>
                      <a:spcPts val="450"/>
                    </a:spcAft>
                  </a:pPr>
                  <a:r>
                    <a:rPr lang="en-US" sz="1428" dirty="0">
                      <a:gradFill>
                        <a:gsLst>
                          <a:gs pos="85841">
                            <a:srgbClr val="FFFFFF"/>
                          </a:gs>
                          <a:gs pos="0">
                            <a:srgbClr val="FFFFFF"/>
                          </a:gs>
                        </a:gsLst>
                        <a:lin ang="5400000" scaled="0"/>
                      </a:gradFill>
                      <a:latin typeface="Segoe UI Light" panose="020B0502040204020203" pitchFamily="34" charset="0"/>
                    </a:rPr>
                    <a:t>Mobile</a:t>
                  </a:r>
                </a:p>
              </p:txBody>
            </p:sp>
            <p:sp>
              <p:nvSpPr>
                <p:cNvPr id="155" name="Oval 7"/>
                <p:cNvSpPr>
                  <a:spLocks noChangeArrowheads="1"/>
                </p:cNvSpPr>
                <p:nvPr/>
              </p:nvSpPr>
              <p:spPr bwMode="auto">
                <a:xfrm flipH="1">
                  <a:off x="8771345" y="1584237"/>
                  <a:ext cx="7752" cy="7199"/>
                </a:xfrm>
                <a:prstGeom prst="ellipse">
                  <a:avLst/>
                </a:prstGeom>
                <a:solidFill>
                  <a:schemeClr val="bg1"/>
                </a:solidFill>
                <a:ln>
                  <a:noFill/>
                </a:ln>
              </p:spPr>
              <p:txBody>
                <a:bodyPr vert="horz" wrap="square" lIns="68570" tIns="34285" rIns="68570" bIns="34285" numCol="1" anchor="t" anchorCtr="0" compatLnSpc="1">
                  <a:prstTxWarp prst="textNoShape">
                    <a:avLst/>
                  </a:prstTxWarp>
                </a:bodyPr>
                <a:lstStyle/>
                <a:p>
                  <a:pPr defTabSz="685525"/>
                  <a:endParaRPr lang="en-US" sz="2856">
                    <a:solidFill>
                      <a:srgbClr val="000000"/>
                    </a:solidFill>
                    <a:latin typeface="Segoe UI Light" panose="020B0502040204020203" pitchFamily="34" charset="0"/>
                  </a:endParaRPr>
                </a:p>
              </p:txBody>
            </p:sp>
            <p:sp>
              <p:nvSpPr>
                <p:cNvPr id="156" name="Freeform 155"/>
                <p:cNvSpPr/>
                <p:nvPr>
                  <p:custDataLst>
                    <p:tags r:id="rId2"/>
                  </p:custDataLst>
                </p:nvPr>
              </p:nvSpPr>
              <p:spPr>
                <a:xfrm>
                  <a:off x="3621468" y="1166013"/>
                  <a:ext cx="414252" cy="363755"/>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tx1"/>
                </a:solidFill>
                <a:ln w="19050" cap="flat" cmpd="sng" algn="ctr">
                  <a:noFill/>
                  <a:prstDash val="solid"/>
                </a:ln>
                <a:effectLst/>
              </p:spPr>
              <p:txBody>
                <a:bodyPr rtlCol="0" anchor="ctr"/>
                <a:lstStyle/>
                <a:p>
                  <a:pPr algn="ctr" defTabSz="699402">
                    <a:defRPr/>
                  </a:pPr>
                  <a:endParaRPr lang="en-US" sz="1632" kern="0">
                    <a:solidFill>
                      <a:sysClr val="window" lastClr="FFFFFF"/>
                    </a:solidFill>
                    <a:latin typeface="Segoe UI Light" panose="020B0502040204020203" pitchFamily="34" charset="0"/>
                  </a:endParaRPr>
                </a:p>
              </p:txBody>
            </p:sp>
          </p:grpSp>
        </p:grpSp>
        <p:grpSp>
          <p:nvGrpSpPr>
            <p:cNvPr id="135" name="Group 134"/>
            <p:cNvGrpSpPr/>
            <p:nvPr/>
          </p:nvGrpSpPr>
          <p:grpSpPr>
            <a:xfrm>
              <a:off x="12841916" y="1030389"/>
              <a:ext cx="366353" cy="427268"/>
              <a:chOff x="10280016" y="4544833"/>
              <a:chExt cx="728879" cy="719102"/>
            </a:xfrm>
          </p:grpSpPr>
          <p:grpSp>
            <p:nvGrpSpPr>
              <p:cNvPr id="136" name="Group 135"/>
              <p:cNvGrpSpPr/>
              <p:nvPr/>
            </p:nvGrpSpPr>
            <p:grpSpPr bwMode="black">
              <a:xfrm>
                <a:off x="10280016" y="4544833"/>
                <a:ext cx="728879" cy="719102"/>
                <a:chOff x="2916435" y="3914152"/>
                <a:chExt cx="930763" cy="918513"/>
              </a:xfrm>
            </p:grpSpPr>
            <p:pic>
              <p:nvPicPr>
                <p:cNvPr id="138" name="Picture 13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39"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68561" tIns="34280" rIns="68561" bIns="34280" numCol="1" anchor="t" anchorCtr="0" compatLnSpc="1">
                  <a:prstTxWarp prst="textNoShape">
                    <a:avLst/>
                  </a:prstTxWarp>
                </a:bodyPr>
                <a:lstStyle/>
                <a:p>
                  <a:pPr defTabSz="699308"/>
                  <a:endParaRPr lang="en-US" sz="675" dirty="0">
                    <a:solidFill>
                      <a:srgbClr val="FFFFFF"/>
                    </a:solidFill>
                  </a:endParaRPr>
                </a:p>
              </p:txBody>
            </p:sp>
          </p:grpSp>
          <p:sp>
            <p:nvSpPr>
              <p:cNvPr id="137" name="Freeform 136"/>
              <p:cNvSpPr/>
              <p:nvPr>
                <p:custDataLst>
                  <p:tags r:id="rId1"/>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tx1"/>
              </a:solidFill>
              <a:ln w="19050" cap="flat" cmpd="sng" algn="ctr">
                <a:noFill/>
                <a:prstDash val="solid"/>
              </a:ln>
              <a:effectLst/>
            </p:spPr>
            <p:txBody>
              <a:bodyPr rtlCol="0" anchor="ctr"/>
              <a:lstStyle/>
              <a:p>
                <a:pPr algn="ctr" defTabSz="699188">
                  <a:defRPr/>
                </a:pPr>
                <a:endParaRPr lang="en-US" sz="1350" kern="0">
                  <a:solidFill>
                    <a:sysClr val="window" lastClr="FFFFFF"/>
                  </a:solidFill>
                  <a:latin typeface="Arial"/>
                </a:endParaRPr>
              </a:p>
            </p:txBody>
          </p:sp>
        </p:grpSp>
      </p:grpSp>
      <p:sp>
        <p:nvSpPr>
          <p:cNvPr id="159" name="Freeform 23"/>
          <p:cNvSpPr>
            <a:spLocks noChangeAspect="1" noEditPoints="1"/>
          </p:cNvSpPr>
          <p:nvPr/>
        </p:nvSpPr>
        <p:spPr bwMode="auto">
          <a:xfrm>
            <a:off x="387631" y="4057059"/>
            <a:ext cx="1211630" cy="383191"/>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68570" tIns="34285" rIns="68570" bIns="34285" numCol="1" anchor="t" anchorCtr="0" compatLnSpc="1">
            <a:prstTxWarp prst="textNoShape">
              <a:avLst/>
            </a:prstTxWarp>
          </a:bodyPr>
          <a:lstStyle/>
          <a:p>
            <a:pPr defTabSz="699402"/>
            <a:endParaRPr lang="en-US" sz="994">
              <a:solidFill>
                <a:srgbClr val="000000"/>
              </a:solidFill>
            </a:endParaRPr>
          </a:p>
        </p:txBody>
      </p:sp>
      <p:sp>
        <p:nvSpPr>
          <p:cNvPr id="160" name="Freeform 22"/>
          <p:cNvSpPr>
            <a:spLocks noChangeAspect="1" noEditPoints="1"/>
          </p:cNvSpPr>
          <p:nvPr/>
        </p:nvSpPr>
        <p:spPr bwMode="auto">
          <a:xfrm>
            <a:off x="387632" y="4727270"/>
            <a:ext cx="2699733" cy="386837"/>
          </a:xfrm>
          <a:custGeom>
            <a:avLst/>
            <a:gdLst>
              <a:gd name="T0" fmla="*/ 383 w 6029"/>
              <a:gd name="T1" fmla="*/ 425 h 864"/>
              <a:gd name="T2" fmla="*/ 864 w 6029"/>
              <a:gd name="T3" fmla="*/ 864 h 864"/>
              <a:gd name="T4" fmla="*/ 368 w 6029"/>
              <a:gd name="T5" fmla="*/ 69 h 864"/>
              <a:gd name="T6" fmla="*/ 368 w 6029"/>
              <a:gd name="T7" fmla="*/ 440 h 864"/>
              <a:gd name="T8" fmla="*/ 368 w 6029"/>
              <a:gd name="T9" fmla="*/ 440 h 864"/>
              <a:gd name="T10" fmla="*/ 1836 w 6029"/>
              <a:gd name="T11" fmla="*/ 200 h 864"/>
              <a:gd name="T12" fmla="*/ 1914 w 6029"/>
              <a:gd name="T13" fmla="*/ 200 h 864"/>
              <a:gd name="T14" fmla="*/ 1614 w 6029"/>
              <a:gd name="T15" fmla="*/ 607 h 864"/>
              <a:gd name="T16" fmla="*/ 1310 w 6029"/>
              <a:gd name="T17" fmla="*/ 606 h 864"/>
              <a:gd name="T18" fmla="*/ 1345 w 6029"/>
              <a:gd name="T19" fmla="*/ 692 h 864"/>
              <a:gd name="T20" fmla="*/ 1650 w 6029"/>
              <a:gd name="T21" fmla="*/ 692 h 864"/>
              <a:gd name="T22" fmla="*/ 1846 w 6029"/>
              <a:gd name="T23" fmla="*/ 321 h 864"/>
              <a:gd name="T24" fmla="*/ 2302 w 6029"/>
              <a:gd name="T25" fmla="*/ 465 h 864"/>
              <a:gd name="T26" fmla="*/ 2053 w 6029"/>
              <a:gd name="T27" fmla="*/ 383 h 864"/>
              <a:gd name="T28" fmla="*/ 2053 w 6029"/>
              <a:gd name="T29" fmla="*/ 692 h 864"/>
              <a:gd name="T30" fmla="*/ 2242 w 6029"/>
              <a:gd name="T31" fmla="*/ 480 h 864"/>
              <a:gd name="T32" fmla="*/ 2710 w 6029"/>
              <a:gd name="T33" fmla="*/ 143 h 864"/>
              <a:gd name="T34" fmla="*/ 2539 w 6029"/>
              <a:gd name="T35" fmla="*/ 312 h 864"/>
              <a:gd name="T36" fmla="*/ 2522 w 6029"/>
              <a:gd name="T37" fmla="*/ 701 h 864"/>
              <a:gd name="T38" fmla="*/ 2710 w 6029"/>
              <a:gd name="T39" fmla="*/ 692 h 864"/>
              <a:gd name="T40" fmla="*/ 2459 w 6029"/>
              <a:gd name="T41" fmla="*/ 613 h 864"/>
              <a:gd name="T42" fmla="*/ 2621 w 6029"/>
              <a:gd name="T43" fmla="*/ 393 h 864"/>
              <a:gd name="T44" fmla="*/ 3104 w 6029"/>
              <a:gd name="T45" fmla="*/ 364 h 864"/>
              <a:gd name="T46" fmla="*/ 2835 w 6029"/>
              <a:gd name="T47" fmla="*/ 648 h 864"/>
              <a:gd name="T48" fmla="*/ 3104 w 6029"/>
              <a:gd name="T49" fmla="*/ 364 h 864"/>
              <a:gd name="T50" fmla="*/ 2847 w 6029"/>
              <a:gd name="T51" fmla="*/ 509 h 864"/>
              <a:gd name="T52" fmla="*/ 3090 w 6029"/>
              <a:gd name="T53" fmla="*/ 507 h 864"/>
              <a:gd name="T54" fmla="*/ 3547 w 6029"/>
              <a:gd name="T55" fmla="*/ 620 h 864"/>
              <a:gd name="T56" fmla="*/ 3316 w 6029"/>
              <a:gd name="T57" fmla="*/ 620 h 864"/>
              <a:gd name="T58" fmla="*/ 3343 w 6029"/>
              <a:gd name="T59" fmla="*/ 692 h 864"/>
              <a:gd name="T60" fmla="*/ 3578 w 6029"/>
              <a:gd name="T61" fmla="*/ 692 h 864"/>
              <a:gd name="T62" fmla="*/ 3845 w 6029"/>
              <a:gd name="T63" fmla="*/ 484 h 864"/>
              <a:gd name="T64" fmla="*/ 3840 w 6029"/>
              <a:gd name="T65" fmla="*/ 363 h 864"/>
              <a:gd name="T66" fmla="*/ 3751 w 6029"/>
              <a:gd name="T67" fmla="*/ 343 h 864"/>
              <a:gd name="T68" fmla="*/ 3866 w 6029"/>
              <a:gd name="T69" fmla="*/ 564 h 864"/>
              <a:gd name="T70" fmla="*/ 3713 w 6029"/>
              <a:gd name="T71" fmla="*/ 678 h 864"/>
              <a:gd name="T72" fmla="*/ 3920 w 6029"/>
              <a:gd name="T73" fmla="*/ 531 h 864"/>
              <a:gd name="T74" fmla="*/ 4213 w 6029"/>
              <a:gd name="T75" fmla="*/ 339 h 864"/>
              <a:gd name="T76" fmla="*/ 4408 w 6029"/>
              <a:gd name="T77" fmla="*/ 251 h 864"/>
              <a:gd name="T78" fmla="*/ 4142 w 6029"/>
              <a:gd name="T79" fmla="*/ 303 h 864"/>
              <a:gd name="T80" fmla="*/ 4366 w 6029"/>
              <a:gd name="T81" fmla="*/ 568 h 864"/>
              <a:gd name="T82" fmla="*/ 4141 w 6029"/>
              <a:gd name="T83" fmla="*/ 671 h 864"/>
              <a:gd name="T84" fmla="*/ 4430 w 6029"/>
              <a:gd name="T85" fmla="*/ 561 h 864"/>
              <a:gd name="T86" fmla="*/ 4648 w 6029"/>
              <a:gd name="T87" fmla="*/ 312 h 864"/>
              <a:gd name="T88" fmla="*/ 4522 w 6029"/>
              <a:gd name="T89" fmla="*/ 649 h 864"/>
              <a:gd name="T90" fmla="*/ 4660 w 6029"/>
              <a:gd name="T91" fmla="*/ 650 h 864"/>
              <a:gd name="T92" fmla="*/ 4801 w 6029"/>
              <a:gd name="T93" fmla="*/ 490 h 864"/>
              <a:gd name="T94" fmla="*/ 4715 w 6029"/>
              <a:gd name="T95" fmla="*/ 391 h 864"/>
              <a:gd name="T96" fmla="*/ 5025 w 6029"/>
              <a:gd name="T97" fmla="*/ 315 h 864"/>
              <a:gd name="T98" fmla="*/ 4927 w 6029"/>
              <a:gd name="T99" fmla="*/ 321 h 864"/>
              <a:gd name="T100" fmla="*/ 4927 w 6029"/>
              <a:gd name="T101" fmla="*/ 503 h 864"/>
              <a:gd name="T102" fmla="*/ 5061 w 6029"/>
              <a:gd name="T103" fmla="*/ 320 h 864"/>
              <a:gd name="T104" fmla="*/ 5153 w 6029"/>
              <a:gd name="T105" fmla="*/ 321 h 864"/>
              <a:gd name="T106" fmla="*/ 5434 w 6029"/>
              <a:gd name="T107" fmla="*/ 321 h 864"/>
              <a:gd name="T108" fmla="*/ 5616 w 6029"/>
              <a:gd name="T109" fmla="*/ 312 h 864"/>
              <a:gd name="T110" fmla="*/ 5490 w 6029"/>
              <a:gd name="T111" fmla="*/ 649 h 864"/>
              <a:gd name="T112" fmla="*/ 5628 w 6029"/>
              <a:gd name="T113" fmla="*/ 650 h 864"/>
              <a:gd name="T114" fmla="*/ 5769 w 6029"/>
              <a:gd name="T115" fmla="*/ 490 h 864"/>
              <a:gd name="T116" fmla="*/ 5683 w 6029"/>
              <a:gd name="T117" fmla="*/ 391 h 864"/>
              <a:gd name="T118" fmla="*/ 5993 w 6029"/>
              <a:gd name="T119" fmla="*/ 315 h 864"/>
              <a:gd name="T120" fmla="*/ 5895 w 6029"/>
              <a:gd name="T121" fmla="*/ 321 h 864"/>
              <a:gd name="T122" fmla="*/ 5895 w 6029"/>
              <a:gd name="T123" fmla="*/ 503 h 864"/>
              <a:gd name="T124" fmla="*/ 6029 w 6029"/>
              <a:gd name="T125" fmla="*/ 32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29" h="864">
                <a:moveTo>
                  <a:pt x="383" y="67"/>
                </a:moveTo>
                <a:cubicBezTo>
                  <a:pt x="864" y="0"/>
                  <a:pt x="864" y="0"/>
                  <a:pt x="864" y="0"/>
                </a:cubicBezTo>
                <a:cubicBezTo>
                  <a:pt x="864" y="425"/>
                  <a:pt x="864" y="425"/>
                  <a:pt x="864" y="425"/>
                </a:cubicBezTo>
                <a:cubicBezTo>
                  <a:pt x="383" y="425"/>
                  <a:pt x="383" y="425"/>
                  <a:pt x="383" y="425"/>
                </a:cubicBezTo>
                <a:lnTo>
                  <a:pt x="383" y="67"/>
                </a:lnTo>
                <a:close/>
                <a:moveTo>
                  <a:pt x="383" y="440"/>
                </a:moveTo>
                <a:cubicBezTo>
                  <a:pt x="383" y="797"/>
                  <a:pt x="383" y="797"/>
                  <a:pt x="383" y="797"/>
                </a:cubicBezTo>
                <a:cubicBezTo>
                  <a:pt x="864" y="864"/>
                  <a:pt x="864" y="864"/>
                  <a:pt x="864" y="864"/>
                </a:cubicBezTo>
                <a:cubicBezTo>
                  <a:pt x="864" y="440"/>
                  <a:pt x="864" y="440"/>
                  <a:pt x="864" y="440"/>
                </a:cubicBezTo>
                <a:lnTo>
                  <a:pt x="383" y="440"/>
                </a:lnTo>
                <a:close/>
                <a:moveTo>
                  <a:pt x="368" y="425"/>
                </a:moveTo>
                <a:cubicBezTo>
                  <a:pt x="368" y="69"/>
                  <a:pt x="368" y="69"/>
                  <a:pt x="368" y="69"/>
                </a:cubicBezTo>
                <a:cubicBezTo>
                  <a:pt x="0" y="121"/>
                  <a:pt x="0" y="121"/>
                  <a:pt x="0" y="121"/>
                </a:cubicBezTo>
                <a:cubicBezTo>
                  <a:pt x="0" y="425"/>
                  <a:pt x="0" y="425"/>
                  <a:pt x="0" y="425"/>
                </a:cubicBezTo>
                <a:lnTo>
                  <a:pt x="368" y="425"/>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5" y="165"/>
                  <a:pt x="1886" y="161"/>
                  <a:pt x="1874" y="161"/>
                </a:cubicBezTo>
                <a:cubicBezTo>
                  <a:pt x="1863" y="161"/>
                  <a:pt x="1854" y="165"/>
                  <a:pt x="1847" y="173"/>
                </a:cubicBezTo>
                <a:cubicBezTo>
                  <a:pt x="1839" y="180"/>
                  <a:pt x="1836" y="189"/>
                  <a:pt x="1836" y="200"/>
                </a:cubicBezTo>
                <a:cubicBezTo>
                  <a:pt x="1836" y="211"/>
                  <a:pt x="1840" y="221"/>
                  <a:pt x="1847" y="228"/>
                </a:cubicBezTo>
                <a:cubicBezTo>
                  <a:pt x="1854" y="235"/>
                  <a:pt x="1864" y="238"/>
                  <a:pt x="1874" y="238"/>
                </a:cubicBezTo>
                <a:cubicBezTo>
                  <a:pt x="1885" y="238"/>
                  <a:pt x="1894" y="235"/>
                  <a:pt x="1902" y="227"/>
                </a:cubicBezTo>
                <a:cubicBezTo>
                  <a:pt x="1910" y="220"/>
                  <a:pt x="1914" y="211"/>
                  <a:pt x="1914" y="200"/>
                </a:cubicBezTo>
                <a:cubicBezTo>
                  <a:pt x="1914" y="189"/>
                  <a:pt x="1910" y="180"/>
                  <a:pt x="1902" y="173"/>
                </a:cubicBezTo>
                <a:close/>
                <a:moveTo>
                  <a:pt x="1731" y="173"/>
                </a:moveTo>
                <a:cubicBezTo>
                  <a:pt x="1615" y="607"/>
                  <a:pt x="1615" y="607"/>
                  <a:pt x="1615" y="607"/>
                </a:cubicBezTo>
                <a:cubicBezTo>
                  <a:pt x="1614" y="607"/>
                  <a:pt x="1614" y="607"/>
                  <a:pt x="1614" y="607"/>
                </a:cubicBezTo>
                <a:cubicBezTo>
                  <a:pt x="1495" y="173"/>
                  <a:pt x="1495" y="173"/>
                  <a:pt x="1495" y="173"/>
                </a:cubicBezTo>
                <a:cubicBezTo>
                  <a:pt x="1436" y="173"/>
                  <a:pt x="1436" y="173"/>
                  <a:pt x="1436" y="173"/>
                </a:cubicBezTo>
                <a:cubicBezTo>
                  <a:pt x="1311" y="606"/>
                  <a:pt x="1311" y="606"/>
                  <a:pt x="1311" y="606"/>
                </a:cubicBezTo>
                <a:cubicBezTo>
                  <a:pt x="1310" y="606"/>
                  <a:pt x="1310" y="606"/>
                  <a:pt x="1310" y="606"/>
                </a:cubicBezTo>
                <a:cubicBezTo>
                  <a:pt x="1190" y="173"/>
                  <a:pt x="1190" y="173"/>
                  <a:pt x="1190" y="173"/>
                </a:cubicBezTo>
                <a:cubicBezTo>
                  <a:pt x="1123" y="173"/>
                  <a:pt x="1123" y="173"/>
                  <a:pt x="1123" y="173"/>
                </a:cubicBezTo>
                <a:cubicBezTo>
                  <a:pt x="1275" y="692"/>
                  <a:pt x="1275" y="692"/>
                  <a:pt x="1275" y="692"/>
                </a:cubicBezTo>
                <a:cubicBezTo>
                  <a:pt x="1345" y="692"/>
                  <a:pt x="1345" y="692"/>
                  <a:pt x="1345" y="692"/>
                </a:cubicBezTo>
                <a:cubicBezTo>
                  <a:pt x="1461" y="281"/>
                  <a:pt x="1461" y="281"/>
                  <a:pt x="1461" y="281"/>
                </a:cubicBezTo>
                <a:cubicBezTo>
                  <a:pt x="1463" y="281"/>
                  <a:pt x="1463" y="281"/>
                  <a:pt x="1463" y="281"/>
                </a:cubicBezTo>
                <a:cubicBezTo>
                  <a:pt x="1579" y="692"/>
                  <a:pt x="1579" y="692"/>
                  <a:pt x="1579" y="692"/>
                </a:cubicBezTo>
                <a:cubicBezTo>
                  <a:pt x="1650" y="692"/>
                  <a:pt x="1650" y="692"/>
                  <a:pt x="1650" y="692"/>
                </a:cubicBezTo>
                <a:cubicBezTo>
                  <a:pt x="1796" y="173"/>
                  <a:pt x="1796" y="173"/>
                  <a:pt x="1796" y="173"/>
                </a:cubicBezTo>
                <a:lnTo>
                  <a:pt x="1731" y="173"/>
                </a:lnTo>
                <a:close/>
                <a:moveTo>
                  <a:pt x="1905" y="321"/>
                </a:moveTo>
                <a:cubicBezTo>
                  <a:pt x="1846" y="321"/>
                  <a:pt x="1846" y="321"/>
                  <a:pt x="1846" y="321"/>
                </a:cubicBezTo>
                <a:cubicBezTo>
                  <a:pt x="1846" y="692"/>
                  <a:pt x="1846" y="692"/>
                  <a:pt x="1846" y="692"/>
                </a:cubicBezTo>
                <a:cubicBezTo>
                  <a:pt x="1905" y="692"/>
                  <a:pt x="1905" y="692"/>
                  <a:pt x="1905" y="692"/>
                </a:cubicBezTo>
                <a:lnTo>
                  <a:pt x="1905" y="321"/>
                </a:lnTo>
                <a:close/>
                <a:moveTo>
                  <a:pt x="2302" y="465"/>
                </a:moveTo>
                <a:cubicBezTo>
                  <a:pt x="2302" y="416"/>
                  <a:pt x="2291" y="378"/>
                  <a:pt x="2269" y="352"/>
                </a:cubicBezTo>
                <a:cubicBezTo>
                  <a:pt x="2248" y="325"/>
                  <a:pt x="2217" y="312"/>
                  <a:pt x="2176" y="312"/>
                </a:cubicBezTo>
                <a:cubicBezTo>
                  <a:pt x="2123" y="312"/>
                  <a:pt x="2082" y="336"/>
                  <a:pt x="2055"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3" y="396"/>
                </a:cubicBezTo>
                <a:cubicBezTo>
                  <a:pt x="2102" y="374"/>
                  <a:pt x="2127" y="363"/>
                  <a:pt x="2156" y="363"/>
                </a:cubicBezTo>
                <a:cubicBezTo>
                  <a:pt x="2213" y="363"/>
                  <a:pt x="2242" y="402"/>
                  <a:pt x="2242" y="480"/>
                </a:cubicBezTo>
                <a:cubicBezTo>
                  <a:pt x="2242" y="692"/>
                  <a:pt x="2242" y="692"/>
                  <a:pt x="2242" y="692"/>
                </a:cubicBezTo>
                <a:cubicBezTo>
                  <a:pt x="2302" y="692"/>
                  <a:pt x="2302" y="692"/>
                  <a:pt x="2302" y="692"/>
                </a:cubicBezTo>
                <a:lnTo>
                  <a:pt x="2302" y="465"/>
                </a:lnTo>
                <a:close/>
                <a:moveTo>
                  <a:pt x="2710" y="143"/>
                </a:moveTo>
                <a:cubicBezTo>
                  <a:pt x="2651" y="143"/>
                  <a:pt x="2651" y="143"/>
                  <a:pt x="2651" y="143"/>
                </a:cubicBezTo>
                <a:cubicBezTo>
                  <a:pt x="2651" y="372"/>
                  <a:pt x="2651" y="372"/>
                  <a:pt x="2651" y="372"/>
                </a:cubicBezTo>
                <a:cubicBezTo>
                  <a:pt x="2650" y="372"/>
                  <a:pt x="2650" y="372"/>
                  <a:pt x="2650" y="372"/>
                </a:cubicBezTo>
                <a:cubicBezTo>
                  <a:pt x="2626" y="332"/>
                  <a:pt x="2589" y="312"/>
                  <a:pt x="2539" y="312"/>
                </a:cubicBezTo>
                <a:cubicBezTo>
                  <a:pt x="2487" y="312"/>
                  <a:pt x="2446" y="331"/>
                  <a:pt x="2415" y="368"/>
                </a:cubicBezTo>
                <a:cubicBezTo>
                  <a:pt x="2384" y="405"/>
                  <a:pt x="2369" y="454"/>
                  <a:pt x="2369" y="515"/>
                </a:cubicBezTo>
                <a:cubicBezTo>
                  <a:pt x="2369" y="572"/>
                  <a:pt x="2383" y="617"/>
                  <a:pt x="2410" y="650"/>
                </a:cubicBezTo>
                <a:cubicBezTo>
                  <a:pt x="2438" y="684"/>
                  <a:pt x="2475" y="701"/>
                  <a:pt x="2522" y="701"/>
                </a:cubicBezTo>
                <a:cubicBezTo>
                  <a:pt x="2580" y="701"/>
                  <a:pt x="2622" y="677"/>
                  <a:pt x="2650" y="629"/>
                </a:cubicBezTo>
                <a:cubicBezTo>
                  <a:pt x="2651" y="629"/>
                  <a:pt x="2651" y="629"/>
                  <a:pt x="2651" y="629"/>
                </a:cubicBezTo>
                <a:cubicBezTo>
                  <a:pt x="2651" y="692"/>
                  <a:pt x="2651" y="692"/>
                  <a:pt x="2651" y="692"/>
                </a:cubicBezTo>
                <a:cubicBezTo>
                  <a:pt x="2710" y="692"/>
                  <a:pt x="2710" y="692"/>
                  <a:pt x="2710" y="692"/>
                </a:cubicBezTo>
                <a:lnTo>
                  <a:pt x="2710" y="143"/>
                </a:lnTo>
                <a:close/>
                <a:moveTo>
                  <a:pt x="2620" y="615"/>
                </a:moveTo>
                <a:cubicBezTo>
                  <a:pt x="2599" y="638"/>
                  <a:pt x="2572" y="650"/>
                  <a:pt x="2539" y="650"/>
                </a:cubicBezTo>
                <a:cubicBezTo>
                  <a:pt x="2506" y="650"/>
                  <a:pt x="2479" y="638"/>
                  <a:pt x="2459" y="613"/>
                </a:cubicBezTo>
                <a:cubicBezTo>
                  <a:pt x="2440" y="588"/>
                  <a:pt x="2430" y="555"/>
                  <a:pt x="2430" y="512"/>
                </a:cubicBezTo>
                <a:cubicBezTo>
                  <a:pt x="2430" y="465"/>
                  <a:pt x="2440" y="429"/>
                  <a:pt x="2461" y="402"/>
                </a:cubicBezTo>
                <a:cubicBezTo>
                  <a:pt x="2482" y="376"/>
                  <a:pt x="2510" y="363"/>
                  <a:pt x="2546" y="363"/>
                </a:cubicBezTo>
                <a:cubicBezTo>
                  <a:pt x="2575" y="363"/>
                  <a:pt x="2600" y="373"/>
                  <a:pt x="2621" y="393"/>
                </a:cubicBezTo>
                <a:cubicBezTo>
                  <a:pt x="2641" y="413"/>
                  <a:pt x="2651" y="439"/>
                  <a:pt x="2651" y="469"/>
                </a:cubicBezTo>
                <a:cubicBezTo>
                  <a:pt x="2651" y="524"/>
                  <a:pt x="2651" y="524"/>
                  <a:pt x="2651" y="524"/>
                </a:cubicBezTo>
                <a:cubicBezTo>
                  <a:pt x="2651" y="561"/>
                  <a:pt x="2641" y="591"/>
                  <a:pt x="2620"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8" y="683"/>
                  <a:pt x="2912" y="701"/>
                  <a:pt x="2966" y="701"/>
                </a:cubicBezTo>
                <a:cubicBezTo>
                  <a:pt x="3022" y="701"/>
                  <a:pt x="3067" y="683"/>
                  <a:pt x="3101" y="647"/>
                </a:cubicBezTo>
                <a:cubicBezTo>
                  <a:pt x="3134" y="611"/>
                  <a:pt x="3151" y="564"/>
                  <a:pt x="3151" y="505"/>
                </a:cubicBezTo>
                <a:cubicBezTo>
                  <a:pt x="3151" y="445"/>
                  <a:pt x="3135" y="398"/>
                  <a:pt x="3104" y="364"/>
                </a:cubicBezTo>
                <a:close/>
                <a:moveTo>
                  <a:pt x="3059" y="613"/>
                </a:moveTo>
                <a:cubicBezTo>
                  <a:pt x="3039" y="638"/>
                  <a:pt x="3009" y="650"/>
                  <a:pt x="2971" y="650"/>
                </a:cubicBezTo>
                <a:cubicBezTo>
                  <a:pt x="2933" y="650"/>
                  <a:pt x="2903" y="638"/>
                  <a:pt x="2880" y="613"/>
                </a:cubicBezTo>
                <a:cubicBezTo>
                  <a:pt x="2858" y="588"/>
                  <a:pt x="2847" y="553"/>
                  <a:pt x="2847" y="509"/>
                </a:cubicBezTo>
                <a:cubicBezTo>
                  <a:pt x="2847" y="462"/>
                  <a:pt x="2858" y="426"/>
                  <a:pt x="2880" y="401"/>
                </a:cubicBezTo>
                <a:cubicBezTo>
                  <a:pt x="2902" y="375"/>
                  <a:pt x="2933" y="363"/>
                  <a:pt x="2971" y="363"/>
                </a:cubicBezTo>
                <a:cubicBezTo>
                  <a:pt x="3009" y="363"/>
                  <a:pt x="3038" y="375"/>
                  <a:pt x="3059" y="400"/>
                </a:cubicBezTo>
                <a:cubicBezTo>
                  <a:pt x="3080" y="425"/>
                  <a:pt x="3090" y="461"/>
                  <a:pt x="3090" y="507"/>
                </a:cubicBezTo>
                <a:cubicBezTo>
                  <a:pt x="3090" y="553"/>
                  <a:pt x="3080"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9" y="620"/>
                  <a:pt x="3319" y="620"/>
                  <a:pt x="3319" y="620"/>
                </a:cubicBezTo>
                <a:cubicBezTo>
                  <a:pt x="3316" y="620"/>
                  <a:pt x="3316" y="620"/>
                  <a:pt x="3316" y="620"/>
                </a:cubicBezTo>
                <a:cubicBezTo>
                  <a:pt x="3234" y="321"/>
                  <a:pt x="3234" y="321"/>
                  <a:pt x="3234" y="321"/>
                </a:cubicBezTo>
                <a:cubicBezTo>
                  <a:pt x="3172" y="321"/>
                  <a:pt x="3172" y="321"/>
                  <a:pt x="3172" y="321"/>
                </a:cubicBezTo>
                <a:cubicBezTo>
                  <a:pt x="3284" y="692"/>
                  <a:pt x="3284" y="692"/>
                  <a:pt x="3284" y="692"/>
                </a:cubicBezTo>
                <a:cubicBezTo>
                  <a:pt x="3343" y="692"/>
                  <a:pt x="3343" y="692"/>
                  <a:pt x="3343" y="692"/>
                </a:cubicBezTo>
                <a:cubicBezTo>
                  <a:pt x="3433" y="404"/>
                  <a:pt x="3433" y="404"/>
                  <a:pt x="3433" y="404"/>
                </a:cubicBezTo>
                <a:cubicBezTo>
                  <a:pt x="3434" y="404"/>
                  <a:pt x="3434" y="404"/>
                  <a:pt x="3434" y="404"/>
                </a:cubicBezTo>
                <a:cubicBezTo>
                  <a:pt x="3517" y="692"/>
                  <a:pt x="3517" y="692"/>
                  <a:pt x="3517" y="692"/>
                </a:cubicBezTo>
                <a:cubicBezTo>
                  <a:pt x="3578" y="692"/>
                  <a:pt x="3578" y="692"/>
                  <a:pt x="3578" y="692"/>
                </a:cubicBezTo>
                <a:cubicBezTo>
                  <a:pt x="3690" y="321"/>
                  <a:pt x="3690" y="321"/>
                  <a:pt x="3690" y="321"/>
                </a:cubicBezTo>
                <a:lnTo>
                  <a:pt x="3631" y="321"/>
                </a:lnTo>
                <a:close/>
                <a:moveTo>
                  <a:pt x="3920" y="531"/>
                </a:moveTo>
                <a:cubicBezTo>
                  <a:pt x="3905" y="514"/>
                  <a:pt x="3881" y="499"/>
                  <a:pt x="3845" y="484"/>
                </a:cubicBezTo>
                <a:cubicBezTo>
                  <a:pt x="3817" y="472"/>
                  <a:pt x="3798" y="461"/>
                  <a:pt x="3789" y="452"/>
                </a:cubicBezTo>
                <a:cubicBezTo>
                  <a:pt x="3779" y="443"/>
                  <a:pt x="3775" y="431"/>
                  <a:pt x="3775" y="414"/>
                </a:cubicBezTo>
                <a:cubicBezTo>
                  <a:pt x="3775" y="399"/>
                  <a:pt x="3781" y="387"/>
                  <a:pt x="3793" y="377"/>
                </a:cubicBezTo>
                <a:cubicBezTo>
                  <a:pt x="3805" y="368"/>
                  <a:pt x="3820" y="363"/>
                  <a:pt x="3840" y="363"/>
                </a:cubicBezTo>
                <a:cubicBezTo>
                  <a:pt x="3872" y="363"/>
                  <a:pt x="3900" y="372"/>
                  <a:pt x="3924" y="389"/>
                </a:cubicBezTo>
                <a:cubicBezTo>
                  <a:pt x="3924" y="329"/>
                  <a:pt x="3924" y="329"/>
                  <a:pt x="3924" y="329"/>
                </a:cubicBezTo>
                <a:cubicBezTo>
                  <a:pt x="3900" y="318"/>
                  <a:pt x="3874" y="312"/>
                  <a:pt x="3845" y="312"/>
                </a:cubicBezTo>
                <a:cubicBezTo>
                  <a:pt x="3807" y="312"/>
                  <a:pt x="3776" y="322"/>
                  <a:pt x="3751" y="343"/>
                </a:cubicBezTo>
                <a:cubicBezTo>
                  <a:pt x="3726" y="363"/>
                  <a:pt x="3714" y="389"/>
                  <a:pt x="3714" y="420"/>
                </a:cubicBezTo>
                <a:cubicBezTo>
                  <a:pt x="3714" y="446"/>
                  <a:pt x="3721" y="467"/>
                  <a:pt x="3734" y="483"/>
                </a:cubicBezTo>
                <a:cubicBezTo>
                  <a:pt x="3748" y="499"/>
                  <a:pt x="3771" y="514"/>
                  <a:pt x="3804" y="528"/>
                </a:cubicBezTo>
                <a:cubicBezTo>
                  <a:pt x="3836" y="543"/>
                  <a:pt x="3857" y="555"/>
                  <a:pt x="3866" y="564"/>
                </a:cubicBezTo>
                <a:cubicBezTo>
                  <a:pt x="3876" y="573"/>
                  <a:pt x="3880" y="584"/>
                  <a:pt x="3880" y="598"/>
                </a:cubicBezTo>
                <a:cubicBezTo>
                  <a:pt x="3880" y="633"/>
                  <a:pt x="3857" y="650"/>
                  <a:pt x="3810" y="650"/>
                </a:cubicBezTo>
                <a:cubicBezTo>
                  <a:pt x="3775" y="650"/>
                  <a:pt x="3743" y="638"/>
                  <a:pt x="3713" y="615"/>
                </a:cubicBezTo>
                <a:cubicBezTo>
                  <a:pt x="3713" y="678"/>
                  <a:pt x="3713" y="678"/>
                  <a:pt x="3713" y="678"/>
                </a:cubicBezTo>
                <a:cubicBezTo>
                  <a:pt x="3740" y="693"/>
                  <a:pt x="3770" y="701"/>
                  <a:pt x="3805" y="701"/>
                </a:cubicBezTo>
                <a:cubicBezTo>
                  <a:pt x="3846" y="701"/>
                  <a:pt x="3879" y="691"/>
                  <a:pt x="3904" y="671"/>
                </a:cubicBezTo>
                <a:cubicBezTo>
                  <a:pt x="3929" y="651"/>
                  <a:pt x="3941" y="625"/>
                  <a:pt x="3941" y="592"/>
                </a:cubicBezTo>
                <a:cubicBezTo>
                  <a:pt x="3941" y="568"/>
                  <a:pt x="3934" y="547"/>
                  <a:pt x="3920" y="531"/>
                </a:cubicBezTo>
                <a:close/>
                <a:moveTo>
                  <a:pt x="4403" y="483"/>
                </a:moveTo>
                <a:cubicBezTo>
                  <a:pt x="4384" y="460"/>
                  <a:pt x="4352" y="436"/>
                  <a:pt x="4306" y="410"/>
                </a:cubicBezTo>
                <a:cubicBezTo>
                  <a:pt x="4276" y="393"/>
                  <a:pt x="4254" y="379"/>
                  <a:pt x="4241" y="369"/>
                </a:cubicBezTo>
                <a:cubicBezTo>
                  <a:pt x="4228" y="359"/>
                  <a:pt x="4219" y="349"/>
                  <a:pt x="4213" y="339"/>
                </a:cubicBezTo>
                <a:cubicBezTo>
                  <a:pt x="4208" y="328"/>
                  <a:pt x="4205" y="314"/>
                  <a:pt x="4205" y="297"/>
                </a:cubicBezTo>
                <a:cubicBezTo>
                  <a:pt x="4205" y="274"/>
                  <a:pt x="4214" y="255"/>
                  <a:pt x="4233" y="240"/>
                </a:cubicBezTo>
                <a:cubicBezTo>
                  <a:pt x="4251" y="226"/>
                  <a:pt x="4274" y="219"/>
                  <a:pt x="4303" y="219"/>
                </a:cubicBezTo>
                <a:cubicBezTo>
                  <a:pt x="4346" y="219"/>
                  <a:pt x="4381" y="229"/>
                  <a:pt x="4408" y="251"/>
                </a:cubicBezTo>
                <a:cubicBezTo>
                  <a:pt x="4408" y="183"/>
                  <a:pt x="4408" y="183"/>
                  <a:pt x="4408" y="183"/>
                </a:cubicBezTo>
                <a:cubicBezTo>
                  <a:pt x="4387" y="170"/>
                  <a:pt x="4353" y="164"/>
                  <a:pt x="4306" y="164"/>
                </a:cubicBezTo>
                <a:cubicBezTo>
                  <a:pt x="4258" y="164"/>
                  <a:pt x="4218" y="177"/>
                  <a:pt x="4188" y="203"/>
                </a:cubicBezTo>
                <a:cubicBezTo>
                  <a:pt x="4157" y="228"/>
                  <a:pt x="4142" y="262"/>
                  <a:pt x="4142" y="303"/>
                </a:cubicBezTo>
                <a:cubicBezTo>
                  <a:pt x="4142" y="334"/>
                  <a:pt x="4150" y="360"/>
                  <a:pt x="4167" y="382"/>
                </a:cubicBezTo>
                <a:cubicBezTo>
                  <a:pt x="4184" y="404"/>
                  <a:pt x="4214" y="427"/>
                  <a:pt x="4257" y="451"/>
                </a:cubicBezTo>
                <a:cubicBezTo>
                  <a:pt x="4301" y="476"/>
                  <a:pt x="4330" y="496"/>
                  <a:pt x="4345" y="512"/>
                </a:cubicBezTo>
                <a:cubicBezTo>
                  <a:pt x="4359" y="528"/>
                  <a:pt x="4366" y="546"/>
                  <a:pt x="4366" y="568"/>
                </a:cubicBezTo>
                <a:cubicBezTo>
                  <a:pt x="4366" y="620"/>
                  <a:pt x="4333" y="646"/>
                  <a:pt x="4266" y="646"/>
                </a:cubicBezTo>
                <a:cubicBezTo>
                  <a:pt x="4245" y="646"/>
                  <a:pt x="4223" y="641"/>
                  <a:pt x="4199" y="632"/>
                </a:cubicBezTo>
                <a:cubicBezTo>
                  <a:pt x="4175" y="623"/>
                  <a:pt x="4156" y="612"/>
                  <a:pt x="4141" y="599"/>
                </a:cubicBezTo>
                <a:cubicBezTo>
                  <a:pt x="4141" y="671"/>
                  <a:pt x="4141" y="671"/>
                  <a:pt x="4141" y="671"/>
                </a:cubicBezTo>
                <a:cubicBezTo>
                  <a:pt x="4151" y="678"/>
                  <a:pt x="4168" y="685"/>
                  <a:pt x="4192" y="691"/>
                </a:cubicBezTo>
                <a:cubicBezTo>
                  <a:pt x="4217" y="697"/>
                  <a:pt x="4239" y="701"/>
                  <a:pt x="4258" y="701"/>
                </a:cubicBezTo>
                <a:cubicBezTo>
                  <a:pt x="4311" y="701"/>
                  <a:pt x="4353" y="688"/>
                  <a:pt x="4384" y="663"/>
                </a:cubicBezTo>
                <a:cubicBezTo>
                  <a:pt x="4415" y="639"/>
                  <a:pt x="4430" y="604"/>
                  <a:pt x="4430" y="561"/>
                </a:cubicBezTo>
                <a:cubicBezTo>
                  <a:pt x="4430" y="531"/>
                  <a:pt x="4421" y="505"/>
                  <a:pt x="4403" y="483"/>
                </a:cubicBezTo>
                <a:close/>
                <a:moveTo>
                  <a:pt x="4801" y="490"/>
                </a:moveTo>
                <a:cubicBezTo>
                  <a:pt x="4801" y="434"/>
                  <a:pt x="4787" y="390"/>
                  <a:pt x="4760" y="359"/>
                </a:cubicBezTo>
                <a:cubicBezTo>
                  <a:pt x="4733" y="328"/>
                  <a:pt x="4696" y="312"/>
                  <a:pt x="4648" y="312"/>
                </a:cubicBezTo>
                <a:cubicBezTo>
                  <a:pt x="4616" y="312"/>
                  <a:pt x="4587" y="320"/>
                  <a:pt x="4561" y="337"/>
                </a:cubicBezTo>
                <a:cubicBezTo>
                  <a:pt x="4535" y="354"/>
                  <a:pt x="4514" y="377"/>
                  <a:pt x="4500" y="407"/>
                </a:cubicBezTo>
                <a:cubicBezTo>
                  <a:pt x="4485" y="438"/>
                  <a:pt x="4477" y="471"/>
                  <a:pt x="4477" y="508"/>
                </a:cubicBezTo>
                <a:cubicBezTo>
                  <a:pt x="4477" y="568"/>
                  <a:pt x="4492" y="615"/>
                  <a:pt x="4522" y="649"/>
                </a:cubicBezTo>
                <a:cubicBezTo>
                  <a:pt x="4552" y="684"/>
                  <a:pt x="4593" y="701"/>
                  <a:pt x="4646" y="701"/>
                </a:cubicBezTo>
                <a:cubicBezTo>
                  <a:pt x="4699" y="701"/>
                  <a:pt x="4742" y="689"/>
                  <a:pt x="4774" y="665"/>
                </a:cubicBezTo>
                <a:cubicBezTo>
                  <a:pt x="4774" y="610"/>
                  <a:pt x="4774" y="610"/>
                  <a:pt x="4774" y="610"/>
                </a:cubicBezTo>
                <a:cubicBezTo>
                  <a:pt x="4740" y="637"/>
                  <a:pt x="4702" y="650"/>
                  <a:pt x="4660" y="650"/>
                </a:cubicBezTo>
                <a:cubicBezTo>
                  <a:pt x="4622" y="650"/>
                  <a:pt x="4593" y="639"/>
                  <a:pt x="4572" y="617"/>
                </a:cubicBezTo>
                <a:cubicBezTo>
                  <a:pt x="4551" y="595"/>
                  <a:pt x="4540" y="563"/>
                  <a:pt x="4539" y="521"/>
                </a:cubicBezTo>
                <a:cubicBezTo>
                  <a:pt x="4801" y="521"/>
                  <a:pt x="4801" y="521"/>
                  <a:pt x="4801" y="521"/>
                </a:cubicBezTo>
                <a:lnTo>
                  <a:pt x="4801" y="490"/>
                </a:lnTo>
                <a:close/>
                <a:moveTo>
                  <a:pt x="4540" y="471"/>
                </a:moveTo>
                <a:cubicBezTo>
                  <a:pt x="4545" y="438"/>
                  <a:pt x="4557" y="412"/>
                  <a:pt x="4577" y="392"/>
                </a:cubicBezTo>
                <a:cubicBezTo>
                  <a:pt x="4596" y="373"/>
                  <a:pt x="4620" y="363"/>
                  <a:pt x="4647" y="363"/>
                </a:cubicBezTo>
                <a:cubicBezTo>
                  <a:pt x="4676" y="363"/>
                  <a:pt x="4699" y="372"/>
                  <a:pt x="4715" y="391"/>
                </a:cubicBezTo>
                <a:cubicBezTo>
                  <a:pt x="4731" y="410"/>
                  <a:pt x="4739" y="437"/>
                  <a:pt x="4740" y="471"/>
                </a:cubicBezTo>
                <a:lnTo>
                  <a:pt x="4540" y="471"/>
                </a:lnTo>
                <a:close/>
                <a:moveTo>
                  <a:pt x="5061" y="320"/>
                </a:moveTo>
                <a:cubicBezTo>
                  <a:pt x="5052" y="316"/>
                  <a:pt x="5041" y="315"/>
                  <a:pt x="5025" y="315"/>
                </a:cubicBezTo>
                <a:cubicBezTo>
                  <a:pt x="5003" y="315"/>
                  <a:pt x="4983" y="322"/>
                  <a:pt x="4966" y="337"/>
                </a:cubicBezTo>
                <a:cubicBezTo>
                  <a:pt x="4949" y="352"/>
                  <a:pt x="4936" y="372"/>
                  <a:pt x="4928" y="397"/>
                </a:cubicBezTo>
                <a:cubicBezTo>
                  <a:pt x="4927" y="397"/>
                  <a:pt x="4927" y="397"/>
                  <a:pt x="4927" y="397"/>
                </a:cubicBezTo>
                <a:cubicBezTo>
                  <a:pt x="4927" y="321"/>
                  <a:pt x="4927" y="321"/>
                  <a:pt x="4927" y="321"/>
                </a:cubicBezTo>
                <a:cubicBezTo>
                  <a:pt x="4867" y="321"/>
                  <a:pt x="4867" y="321"/>
                  <a:pt x="4867" y="321"/>
                </a:cubicBezTo>
                <a:cubicBezTo>
                  <a:pt x="4867" y="692"/>
                  <a:pt x="4867" y="692"/>
                  <a:pt x="4867" y="692"/>
                </a:cubicBezTo>
                <a:cubicBezTo>
                  <a:pt x="4927" y="692"/>
                  <a:pt x="4927" y="692"/>
                  <a:pt x="4927" y="692"/>
                </a:cubicBezTo>
                <a:cubicBezTo>
                  <a:pt x="4927" y="503"/>
                  <a:pt x="4927" y="503"/>
                  <a:pt x="4927" y="503"/>
                </a:cubicBezTo>
                <a:cubicBezTo>
                  <a:pt x="4927" y="463"/>
                  <a:pt x="4935" y="431"/>
                  <a:pt x="4951" y="406"/>
                </a:cubicBezTo>
                <a:cubicBezTo>
                  <a:pt x="4968" y="382"/>
                  <a:pt x="4989" y="369"/>
                  <a:pt x="5015" y="369"/>
                </a:cubicBezTo>
                <a:cubicBezTo>
                  <a:pt x="5035" y="369"/>
                  <a:pt x="5050" y="373"/>
                  <a:pt x="5061" y="381"/>
                </a:cubicBezTo>
                <a:lnTo>
                  <a:pt x="5061" y="320"/>
                </a:lnTo>
                <a:close/>
                <a:moveTo>
                  <a:pt x="5372" y="321"/>
                </a:moveTo>
                <a:cubicBezTo>
                  <a:pt x="5261" y="624"/>
                  <a:pt x="5261" y="624"/>
                  <a:pt x="5261" y="624"/>
                </a:cubicBezTo>
                <a:cubicBezTo>
                  <a:pt x="5259" y="624"/>
                  <a:pt x="5259" y="624"/>
                  <a:pt x="5259" y="624"/>
                </a:cubicBezTo>
                <a:cubicBezTo>
                  <a:pt x="5153" y="321"/>
                  <a:pt x="5153" y="321"/>
                  <a:pt x="5153" y="321"/>
                </a:cubicBezTo>
                <a:cubicBezTo>
                  <a:pt x="5088" y="321"/>
                  <a:pt x="5088" y="321"/>
                  <a:pt x="5088" y="321"/>
                </a:cubicBezTo>
                <a:cubicBezTo>
                  <a:pt x="5228" y="692"/>
                  <a:pt x="5228" y="692"/>
                  <a:pt x="5228" y="692"/>
                </a:cubicBezTo>
                <a:cubicBezTo>
                  <a:pt x="5286" y="692"/>
                  <a:pt x="5286" y="692"/>
                  <a:pt x="5286" y="692"/>
                </a:cubicBezTo>
                <a:cubicBezTo>
                  <a:pt x="5434" y="321"/>
                  <a:pt x="5434" y="321"/>
                  <a:pt x="5434" y="321"/>
                </a:cubicBezTo>
                <a:lnTo>
                  <a:pt x="5372" y="321"/>
                </a:lnTo>
                <a:close/>
                <a:moveTo>
                  <a:pt x="5769" y="490"/>
                </a:moveTo>
                <a:cubicBezTo>
                  <a:pt x="5769" y="434"/>
                  <a:pt x="5755" y="390"/>
                  <a:pt x="5728" y="359"/>
                </a:cubicBezTo>
                <a:cubicBezTo>
                  <a:pt x="5702" y="328"/>
                  <a:pt x="5664" y="312"/>
                  <a:pt x="5616" y="312"/>
                </a:cubicBezTo>
                <a:cubicBezTo>
                  <a:pt x="5584" y="312"/>
                  <a:pt x="5555" y="320"/>
                  <a:pt x="5529" y="337"/>
                </a:cubicBezTo>
                <a:cubicBezTo>
                  <a:pt x="5503" y="354"/>
                  <a:pt x="5483" y="377"/>
                  <a:pt x="5468" y="407"/>
                </a:cubicBezTo>
                <a:cubicBezTo>
                  <a:pt x="5453" y="438"/>
                  <a:pt x="5446" y="471"/>
                  <a:pt x="5446" y="508"/>
                </a:cubicBezTo>
                <a:cubicBezTo>
                  <a:pt x="5446" y="568"/>
                  <a:pt x="5460" y="615"/>
                  <a:pt x="5490" y="649"/>
                </a:cubicBezTo>
                <a:cubicBezTo>
                  <a:pt x="5520" y="684"/>
                  <a:pt x="5561" y="701"/>
                  <a:pt x="5614" y="701"/>
                </a:cubicBezTo>
                <a:cubicBezTo>
                  <a:pt x="5667" y="701"/>
                  <a:pt x="5710" y="689"/>
                  <a:pt x="5743" y="665"/>
                </a:cubicBezTo>
                <a:cubicBezTo>
                  <a:pt x="5743" y="610"/>
                  <a:pt x="5743" y="610"/>
                  <a:pt x="5743" y="610"/>
                </a:cubicBezTo>
                <a:cubicBezTo>
                  <a:pt x="5708" y="637"/>
                  <a:pt x="5670" y="650"/>
                  <a:pt x="5628" y="650"/>
                </a:cubicBezTo>
                <a:cubicBezTo>
                  <a:pt x="5591" y="650"/>
                  <a:pt x="5561" y="639"/>
                  <a:pt x="5540" y="617"/>
                </a:cubicBezTo>
                <a:cubicBezTo>
                  <a:pt x="5519" y="595"/>
                  <a:pt x="5508" y="563"/>
                  <a:pt x="5507" y="521"/>
                </a:cubicBezTo>
                <a:cubicBezTo>
                  <a:pt x="5769" y="521"/>
                  <a:pt x="5769" y="521"/>
                  <a:pt x="5769" y="521"/>
                </a:cubicBezTo>
                <a:lnTo>
                  <a:pt x="5769" y="490"/>
                </a:lnTo>
                <a:close/>
                <a:moveTo>
                  <a:pt x="5508" y="471"/>
                </a:moveTo>
                <a:cubicBezTo>
                  <a:pt x="5513" y="438"/>
                  <a:pt x="5525" y="412"/>
                  <a:pt x="5545" y="392"/>
                </a:cubicBezTo>
                <a:cubicBezTo>
                  <a:pt x="5564" y="373"/>
                  <a:pt x="5588" y="363"/>
                  <a:pt x="5615" y="363"/>
                </a:cubicBezTo>
                <a:cubicBezTo>
                  <a:pt x="5645" y="363"/>
                  <a:pt x="5667" y="372"/>
                  <a:pt x="5683" y="391"/>
                </a:cubicBezTo>
                <a:cubicBezTo>
                  <a:pt x="5699" y="410"/>
                  <a:pt x="5707" y="437"/>
                  <a:pt x="5708" y="471"/>
                </a:cubicBezTo>
                <a:lnTo>
                  <a:pt x="5508" y="471"/>
                </a:lnTo>
                <a:close/>
                <a:moveTo>
                  <a:pt x="6029" y="320"/>
                </a:moveTo>
                <a:cubicBezTo>
                  <a:pt x="6021" y="316"/>
                  <a:pt x="6009" y="315"/>
                  <a:pt x="5993" y="315"/>
                </a:cubicBezTo>
                <a:cubicBezTo>
                  <a:pt x="5971" y="315"/>
                  <a:pt x="5952" y="322"/>
                  <a:pt x="5934" y="337"/>
                </a:cubicBezTo>
                <a:cubicBezTo>
                  <a:pt x="5917" y="352"/>
                  <a:pt x="5905" y="372"/>
                  <a:pt x="5896" y="397"/>
                </a:cubicBezTo>
                <a:cubicBezTo>
                  <a:pt x="5895" y="397"/>
                  <a:pt x="5895" y="397"/>
                  <a:pt x="5895" y="397"/>
                </a:cubicBezTo>
                <a:cubicBezTo>
                  <a:pt x="5895" y="321"/>
                  <a:pt x="5895" y="321"/>
                  <a:pt x="5895" y="321"/>
                </a:cubicBezTo>
                <a:cubicBezTo>
                  <a:pt x="5836" y="321"/>
                  <a:pt x="5836" y="321"/>
                  <a:pt x="5836" y="321"/>
                </a:cubicBezTo>
                <a:cubicBezTo>
                  <a:pt x="5836" y="692"/>
                  <a:pt x="5836" y="692"/>
                  <a:pt x="5836" y="692"/>
                </a:cubicBezTo>
                <a:cubicBezTo>
                  <a:pt x="5895" y="692"/>
                  <a:pt x="5895" y="692"/>
                  <a:pt x="5895" y="692"/>
                </a:cubicBezTo>
                <a:cubicBezTo>
                  <a:pt x="5895" y="503"/>
                  <a:pt x="5895" y="503"/>
                  <a:pt x="5895" y="503"/>
                </a:cubicBezTo>
                <a:cubicBezTo>
                  <a:pt x="5895" y="463"/>
                  <a:pt x="5903" y="431"/>
                  <a:pt x="5920" y="406"/>
                </a:cubicBezTo>
                <a:cubicBezTo>
                  <a:pt x="5936" y="382"/>
                  <a:pt x="5957" y="369"/>
                  <a:pt x="5984" y="369"/>
                </a:cubicBezTo>
                <a:cubicBezTo>
                  <a:pt x="6003" y="369"/>
                  <a:pt x="6018" y="373"/>
                  <a:pt x="6029" y="381"/>
                </a:cubicBezTo>
                <a:lnTo>
                  <a:pt x="6029" y="320"/>
                </a:lnTo>
                <a:close/>
              </a:path>
            </a:pathLst>
          </a:custGeom>
          <a:solidFill>
            <a:schemeClr val="tx1"/>
          </a:solidFill>
          <a:ln>
            <a:noFill/>
          </a:ln>
          <a:extLst/>
        </p:spPr>
        <p:txBody>
          <a:bodyPr vert="horz" wrap="square" lIns="68570" tIns="34285" rIns="68570" bIns="34285" numCol="1" anchor="t" anchorCtr="0" compatLnSpc="1">
            <a:prstTxWarp prst="textNoShape">
              <a:avLst/>
            </a:prstTxWarp>
          </a:bodyPr>
          <a:lstStyle/>
          <a:p>
            <a:pPr defTabSz="699402"/>
            <a:endParaRPr lang="en-US" sz="994"/>
          </a:p>
        </p:txBody>
      </p:sp>
      <p:pic>
        <p:nvPicPr>
          <p:cNvPr id="161" name="Picture 160"/>
          <p:cNvPicPr>
            <a:picLocks noChangeAspect="1"/>
          </p:cNvPicPr>
          <p:nvPr/>
        </p:nvPicPr>
        <p:blipFill>
          <a:blip r:embed="rId7" cstate="print">
            <a:extLst>
              <a:ext uri="{BEBA8EAE-BF5A-486C-A8C5-ECC9F3942E4B}">
                <a14:imgProps xmlns:a14="http://schemas.microsoft.com/office/drawing/2010/main">
                  <a14:imgLayer r:embed="rId8">
                    <a14:imgEffect>
                      <a14:colorTemperature colorTemp="1500"/>
                    </a14:imgEffect>
                    <a14:imgEffect>
                      <a14:saturation sat="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87631" y="6003323"/>
            <a:ext cx="2907167" cy="319789"/>
          </a:xfrm>
          <a:prstGeom prst="rect">
            <a:avLst/>
          </a:prstGeom>
        </p:spPr>
      </p:pic>
      <p:pic>
        <p:nvPicPr>
          <p:cNvPr id="162" name="Picture 4"/>
          <p:cNvPicPr>
            <a:picLocks noChangeAspect="1" noChangeArrowheads="1"/>
          </p:cNvPicPr>
          <p:nvPr/>
        </p:nvPicPr>
        <p:blipFill>
          <a:blip r:embed="rId9">
            <a:extLst>
              <a:ext uri="{BEBA8EAE-BF5A-486C-A8C5-ECC9F3942E4B}">
                <a14:imgProps xmlns:a14="http://schemas.microsoft.com/office/drawing/2010/main">
                  <a14:imgLayer r:embed="rId10">
                    <a14:imgEffect>
                      <a14:colorTemperature colorTemp="3500"/>
                    </a14:imgEffect>
                    <a14:imgEffect>
                      <a14:saturation sat="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360936" y="5360269"/>
            <a:ext cx="2431520" cy="371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5387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fade">
                                      <p:cBhvr>
                                        <p:cTn id="7" dur="500"/>
                                        <p:tgtEl>
                                          <p:spTgt spid="13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1"/>
                                        </p:tgtEl>
                                        <p:attrNameLst>
                                          <p:attrName>style.visibility</p:attrName>
                                        </p:attrNameLst>
                                      </p:cBhvr>
                                      <p:to>
                                        <p:strVal val="visible"/>
                                      </p:to>
                                    </p:set>
                                    <p:animEffect transition="in" filter="fade">
                                      <p:cBhvr>
                                        <p:cTn id="19"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Oval 23"/>
          <p:cNvSpPr/>
          <p:nvPr/>
        </p:nvSpPr>
        <p:spPr bwMode="auto">
          <a:xfrm>
            <a:off x="445752" y="1968717"/>
            <a:ext cx="4452718" cy="445271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25" name="Rectangle 24"/>
          <p:cNvSpPr/>
          <p:nvPr/>
        </p:nvSpPr>
        <p:spPr bwMode="auto">
          <a:xfrm>
            <a:off x="3932563" y="2773197"/>
            <a:ext cx="8228432" cy="867820"/>
          </a:xfrm>
          <a:prstGeom prst="rect">
            <a:avLst/>
          </a:prstGeom>
          <a:solidFill>
            <a:srgbClr val="FB8B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35" tIns="146283" rIns="182854" bIns="146283" anchor="ctr"/>
          <a:lstStyle/>
          <a:p>
            <a:pPr marL="457112" defTabSz="931684" fontAlgn="base">
              <a:lnSpc>
                <a:spcPct val="90000"/>
              </a:lnSpc>
              <a:spcBef>
                <a:spcPct val="0"/>
              </a:spcBef>
              <a:spcAft>
                <a:spcPct val="0"/>
              </a:spcAft>
              <a:defRPr/>
            </a:pPr>
            <a:r>
              <a:rPr lang="en-US" sz="2300" dirty="0">
                <a:solidFill>
                  <a:srgbClr val="FFFFFF"/>
                </a:solidFill>
                <a:latin typeface="Segoe UI Light"/>
                <a:ea typeface="MS PGothic" panose="020B0600070205080204" pitchFamily="34" charset="-128"/>
              </a:rPr>
              <a:t>Discover, explore, and combine any data type or size, regardless of location</a:t>
            </a:r>
          </a:p>
        </p:txBody>
      </p:sp>
      <p:sp>
        <p:nvSpPr>
          <p:cNvPr id="26" name="Rectangle 25"/>
          <p:cNvSpPr/>
          <p:nvPr/>
        </p:nvSpPr>
        <p:spPr bwMode="auto">
          <a:xfrm>
            <a:off x="3932563" y="3715430"/>
            <a:ext cx="8228432" cy="867820"/>
          </a:xfrm>
          <a:prstGeom prst="rect">
            <a:avLst/>
          </a:prstGeom>
          <a:solidFill>
            <a:srgbClr val="FB8B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35" tIns="146283" rIns="182854" bIns="146283" anchor="ctr"/>
          <a:lstStyle/>
          <a:p>
            <a:pPr marL="457112" defTabSz="931684" fontAlgn="base">
              <a:lnSpc>
                <a:spcPct val="90000"/>
              </a:lnSpc>
              <a:spcBef>
                <a:spcPct val="0"/>
              </a:spcBef>
              <a:spcAft>
                <a:spcPct val="0"/>
              </a:spcAft>
              <a:defRPr/>
            </a:pPr>
            <a:r>
              <a:rPr lang="en-US" sz="2300" dirty="0">
                <a:solidFill>
                  <a:srgbClr val="FFFFFF"/>
                </a:solidFill>
                <a:latin typeface="Segoe UI Light"/>
                <a:ea typeface="MS PGothic" panose="020B0600070205080204" pitchFamily="34" charset="-128"/>
              </a:rPr>
              <a:t>Ask questions of data to visualize, analyze, </a:t>
            </a:r>
            <a:br>
              <a:rPr lang="en-US" sz="2300" dirty="0">
                <a:solidFill>
                  <a:srgbClr val="FFFFFF"/>
                </a:solidFill>
                <a:latin typeface="Segoe UI Light"/>
                <a:ea typeface="MS PGothic" panose="020B0600070205080204" pitchFamily="34" charset="-128"/>
              </a:rPr>
            </a:br>
            <a:r>
              <a:rPr lang="en-US" sz="2300" dirty="0">
                <a:solidFill>
                  <a:srgbClr val="FFFFFF"/>
                </a:solidFill>
                <a:latin typeface="Segoe UI Light"/>
                <a:ea typeface="MS PGothic" panose="020B0600070205080204" pitchFamily="34" charset="-128"/>
              </a:rPr>
              <a:t>and forecast</a:t>
            </a:r>
          </a:p>
        </p:txBody>
      </p:sp>
      <p:sp>
        <p:nvSpPr>
          <p:cNvPr id="27" name="Rectangle 26"/>
          <p:cNvSpPr/>
          <p:nvPr/>
        </p:nvSpPr>
        <p:spPr bwMode="auto">
          <a:xfrm>
            <a:off x="3932563" y="4657662"/>
            <a:ext cx="8228432" cy="867820"/>
          </a:xfrm>
          <a:prstGeom prst="rect">
            <a:avLst/>
          </a:prstGeom>
          <a:solidFill>
            <a:srgbClr val="FB8B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135" tIns="146283" rIns="182854" bIns="146283" anchor="ctr"/>
          <a:lstStyle/>
          <a:p>
            <a:pPr marL="457112" defTabSz="931684" fontAlgn="base">
              <a:lnSpc>
                <a:spcPct val="90000"/>
              </a:lnSpc>
              <a:spcBef>
                <a:spcPct val="0"/>
              </a:spcBef>
              <a:spcAft>
                <a:spcPct val="0"/>
              </a:spcAft>
              <a:defRPr/>
            </a:pPr>
            <a:r>
              <a:rPr lang="en-US" sz="2300" dirty="0">
                <a:solidFill>
                  <a:srgbClr val="FFFFFF"/>
                </a:solidFill>
                <a:latin typeface="Segoe UI Light"/>
                <a:ea typeface="MS PGothic" panose="020B0600070205080204" pitchFamily="34" charset="-128"/>
              </a:rPr>
              <a:t>Make faster decisions, share broadly, </a:t>
            </a:r>
          </a:p>
          <a:p>
            <a:pPr marL="457112" defTabSz="931684" fontAlgn="base">
              <a:lnSpc>
                <a:spcPct val="90000"/>
              </a:lnSpc>
              <a:spcBef>
                <a:spcPct val="0"/>
              </a:spcBef>
              <a:spcAft>
                <a:spcPct val="0"/>
              </a:spcAft>
              <a:defRPr/>
            </a:pPr>
            <a:r>
              <a:rPr lang="en-US" sz="2300" dirty="0">
                <a:solidFill>
                  <a:srgbClr val="FFFFFF"/>
                </a:solidFill>
                <a:latin typeface="Segoe UI Light"/>
                <a:ea typeface="MS PGothic" panose="020B0600070205080204" pitchFamily="34" charset="-128"/>
              </a:rPr>
              <a:t>and access insights on any device</a:t>
            </a:r>
          </a:p>
        </p:txBody>
      </p:sp>
      <p:sp>
        <p:nvSpPr>
          <p:cNvPr id="2" name="Title 1"/>
          <p:cNvSpPr>
            <a:spLocks noGrp="1"/>
          </p:cNvSpPr>
          <p:nvPr>
            <p:ph type="title"/>
          </p:nvPr>
        </p:nvSpPr>
        <p:spPr/>
        <p:txBody>
          <a:bodyPr/>
          <a:lstStyle/>
          <a:p>
            <a:r>
              <a:rPr lang="en-AU" smtClean="0"/>
              <a:t>Visualize &amp; decide</a:t>
            </a:r>
            <a:endParaRPr lang="en-AU" dirty="0"/>
          </a:p>
        </p:txBody>
      </p:sp>
      <p:sp>
        <p:nvSpPr>
          <p:cNvPr id="28" name="Oval 27"/>
          <p:cNvSpPr/>
          <p:nvPr/>
        </p:nvSpPr>
        <p:spPr bwMode="auto">
          <a:xfrm>
            <a:off x="721019" y="2243984"/>
            <a:ext cx="3902184" cy="390218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nvGrpSpPr>
          <p:cNvPr id="29" name="Group 28"/>
          <p:cNvGrpSpPr/>
          <p:nvPr/>
        </p:nvGrpSpPr>
        <p:grpSpPr>
          <a:xfrm>
            <a:off x="1023600" y="2555721"/>
            <a:ext cx="3297022" cy="3295057"/>
            <a:chOff x="4146210" y="2201910"/>
            <a:chExt cx="3297490" cy="3295524"/>
          </a:xfrm>
        </p:grpSpPr>
        <p:sp>
          <p:nvSpPr>
            <p:cNvPr id="30" name="Freeform 29"/>
            <p:cNvSpPr/>
            <p:nvPr/>
          </p:nvSpPr>
          <p:spPr bwMode="auto">
            <a:xfrm>
              <a:off x="4256684" y="3953771"/>
              <a:ext cx="3076501" cy="1543663"/>
            </a:xfrm>
            <a:custGeom>
              <a:avLst/>
              <a:gdLst>
                <a:gd name="connsiteX0" fmla="*/ 0 w 3154215"/>
                <a:gd name="connsiteY0" fmla="*/ 509439 h 1650246"/>
                <a:gd name="connsiteX1" fmla="*/ 10932 w 3154215"/>
                <a:gd name="connsiteY1" fmla="*/ 544262 h 1650246"/>
                <a:gd name="connsiteX2" fmla="*/ 7183 w 3154215"/>
                <a:gd name="connsiteY2" fmla="*/ 534564 h 1650246"/>
                <a:gd name="connsiteX3" fmla="*/ 894341 w 3154215"/>
                <a:gd name="connsiteY3" fmla="*/ 384534 h 1650246"/>
                <a:gd name="connsiteX4" fmla="*/ 897970 w 3154215"/>
                <a:gd name="connsiteY4" fmla="*/ 391641 h 1650246"/>
                <a:gd name="connsiteX5" fmla="*/ 902367 w 3154215"/>
                <a:gd name="connsiteY5" fmla="*/ 397746 h 1650246"/>
                <a:gd name="connsiteX6" fmla="*/ 800755 w 3154215"/>
                <a:gd name="connsiteY6" fmla="*/ 98652 h 1650246"/>
                <a:gd name="connsiteX7" fmla="*/ 805324 w 3154215"/>
                <a:gd name="connsiteY7" fmla="*/ 126058 h 1650246"/>
                <a:gd name="connsiteX8" fmla="*/ 804819 w 3154215"/>
                <a:gd name="connsiteY8" fmla="*/ 120064 h 1650246"/>
                <a:gd name="connsiteX9" fmla="*/ 811413 w 3154215"/>
                <a:gd name="connsiteY9" fmla="*/ 163271 h 1650246"/>
                <a:gd name="connsiteX10" fmla="*/ 1561019 w 3154215"/>
                <a:gd name="connsiteY10" fmla="*/ 774217 h 1650246"/>
                <a:gd name="connsiteX11" fmla="*/ 2309360 w 3154215"/>
                <a:gd name="connsiteY11" fmla="*/ 168409 h 1650246"/>
                <a:gd name="connsiteX12" fmla="*/ 2320036 w 3154215"/>
                <a:gd name="connsiteY12" fmla="*/ 101427 h 1650246"/>
                <a:gd name="connsiteX13" fmla="*/ 3102291 w 3154215"/>
                <a:gd name="connsiteY13" fmla="*/ 553063 h 1650246"/>
                <a:gd name="connsiteX14" fmla="*/ 3143038 w 3154215"/>
                <a:gd name="connsiteY14" fmla="*/ 423274 h 1650246"/>
                <a:gd name="connsiteX15" fmla="*/ 3149435 w 3154215"/>
                <a:gd name="connsiteY15" fmla="*/ 394166 h 1650246"/>
                <a:gd name="connsiteX16" fmla="*/ 3154215 w 3154215"/>
                <a:gd name="connsiteY16" fmla="*/ 396761 h 1650246"/>
                <a:gd name="connsiteX17" fmla="*/ 1561019 w 3154215"/>
                <a:gd name="connsiteY17" fmla="*/ 1650246 h 1650246"/>
                <a:gd name="connsiteX18" fmla="*/ 1560794 w 3154215"/>
                <a:gd name="connsiteY18" fmla="*/ 1650236 h 1650246"/>
                <a:gd name="connsiteX19" fmla="*/ 1577953 w 3154215"/>
                <a:gd name="connsiteY19" fmla="*/ 1649369 h 1650246"/>
                <a:gd name="connsiteX20" fmla="*/ 1515761 w 3154215"/>
                <a:gd name="connsiteY20" fmla="*/ 1647980 h 1650246"/>
                <a:gd name="connsiteX21" fmla="*/ 1556640 w 3154215"/>
                <a:gd name="connsiteY21" fmla="*/ 1650045 h 1650246"/>
                <a:gd name="connsiteX22" fmla="*/ 1407963 w 3154215"/>
                <a:gd name="connsiteY22" fmla="*/ 1643203 h 1650246"/>
                <a:gd name="connsiteX23" fmla="*/ 59809 w 3154215"/>
                <a:gd name="connsiteY23" fmla="*/ 670697 h 1650246"/>
                <a:gd name="connsiteX24" fmla="*/ 14218 w 3154215"/>
                <a:gd name="connsiteY24" fmla="*/ 552761 h 1650246"/>
                <a:gd name="connsiteX25" fmla="*/ 796315 w 3154215"/>
                <a:gd name="connsiteY25" fmla="*/ 0 h 1650246"/>
                <a:gd name="connsiteX26" fmla="*/ 796326 w 3154215"/>
                <a:gd name="connsiteY26" fmla="*/ 0 h 1650246"/>
                <a:gd name="connsiteX27" fmla="*/ 795868 w 3154215"/>
                <a:gd name="connsiteY27" fmla="*/ 9066 h 1650246"/>
                <a:gd name="connsiteX28" fmla="*/ 796479 w 3154215"/>
                <a:gd name="connsiteY28" fmla="*/ 21168 h 1650246"/>
                <a:gd name="connsiteX29" fmla="*/ 795458 w 3154215"/>
                <a:gd name="connsiteY29" fmla="*/ 9065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5458 w 3154215"/>
                <a:gd name="connsiteY28" fmla="*/ 9065 h 1650246"/>
                <a:gd name="connsiteX29" fmla="*/ 796326 w 3154215"/>
                <a:gd name="connsiteY29" fmla="*/ 0 h 1650246"/>
                <a:gd name="connsiteX30" fmla="*/ 795868 w 3154215"/>
                <a:gd name="connsiteY30" fmla="*/ 9066 h 1650246"/>
                <a:gd name="connsiteX31" fmla="*/ 796479 w 3154215"/>
                <a:gd name="connsiteY31" fmla="*/ 21168 h 1650246"/>
                <a:gd name="connsiteX32" fmla="*/ 795458 w 3154215"/>
                <a:gd name="connsiteY32" fmla="*/ 9065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6479 w 3154215"/>
                <a:gd name="connsiteY28" fmla="*/ 21168 h 1650246"/>
                <a:gd name="connsiteX29" fmla="*/ 796326 w 3154215"/>
                <a:gd name="connsiteY29" fmla="*/ 0 h 1650246"/>
                <a:gd name="connsiteX30" fmla="*/ 795868 w 3154215"/>
                <a:gd name="connsiteY30" fmla="*/ 9066 h 1650246"/>
                <a:gd name="connsiteX31" fmla="*/ 796479 w 3154215"/>
                <a:gd name="connsiteY31" fmla="*/ 21168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5868 w 3154215"/>
                <a:gd name="connsiteY28" fmla="*/ 9066 h 1650246"/>
                <a:gd name="connsiteX29" fmla="*/ 796326 w 3154215"/>
                <a:gd name="connsiteY29" fmla="*/ 0 h 1650246"/>
                <a:gd name="connsiteX30" fmla="*/ 795868 w 3154215"/>
                <a:gd name="connsiteY30" fmla="*/ 9066 h 1650246"/>
                <a:gd name="connsiteX0" fmla="*/ 0 w 3154215"/>
                <a:gd name="connsiteY0" fmla="*/ 410787 h 1551594"/>
                <a:gd name="connsiteX1" fmla="*/ 10932 w 3154215"/>
                <a:gd name="connsiteY1" fmla="*/ 445610 h 1551594"/>
                <a:gd name="connsiteX2" fmla="*/ 7183 w 3154215"/>
                <a:gd name="connsiteY2" fmla="*/ 435912 h 1551594"/>
                <a:gd name="connsiteX3" fmla="*/ 0 w 3154215"/>
                <a:gd name="connsiteY3" fmla="*/ 410787 h 1551594"/>
                <a:gd name="connsiteX4" fmla="*/ 894341 w 3154215"/>
                <a:gd name="connsiteY4" fmla="*/ 285882 h 1551594"/>
                <a:gd name="connsiteX5" fmla="*/ 897970 w 3154215"/>
                <a:gd name="connsiteY5" fmla="*/ 292989 h 1551594"/>
                <a:gd name="connsiteX6" fmla="*/ 902367 w 3154215"/>
                <a:gd name="connsiteY6" fmla="*/ 299094 h 1551594"/>
                <a:gd name="connsiteX7" fmla="*/ 894341 w 3154215"/>
                <a:gd name="connsiteY7" fmla="*/ 285882 h 1551594"/>
                <a:gd name="connsiteX8" fmla="*/ 800755 w 3154215"/>
                <a:gd name="connsiteY8" fmla="*/ 0 h 1551594"/>
                <a:gd name="connsiteX9" fmla="*/ 805324 w 3154215"/>
                <a:gd name="connsiteY9" fmla="*/ 27406 h 1551594"/>
                <a:gd name="connsiteX10" fmla="*/ 804819 w 3154215"/>
                <a:gd name="connsiteY10" fmla="*/ 21412 h 1551594"/>
                <a:gd name="connsiteX11" fmla="*/ 811413 w 3154215"/>
                <a:gd name="connsiteY11" fmla="*/ 64619 h 1551594"/>
                <a:gd name="connsiteX12" fmla="*/ 1561019 w 3154215"/>
                <a:gd name="connsiteY12" fmla="*/ 675565 h 1551594"/>
                <a:gd name="connsiteX13" fmla="*/ 2309360 w 3154215"/>
                <a:gd name="connsiteY13" fmla="*/ 69757 h 1551594"/>
                <a:gd name="connsiteX14" fmla="*/ 2320036 w 3154215"/>
                <a:gd name="connsiteY14" fmla="*/ 2775 h 1551594"/>
                <a:gd name="connsiteX15" fmla="*/ 3102291 w 3154215"/>
                <a:gd name="connsiteY15" fmla="*/ 454411 h 1551594"/>
                <a:gd name="connsiteX16" fmla="*/ 3143038 w 3154215"/>
                <a:gd name="connsiteY16" fmla="*/ 324622 h 1551594"/>
                <a:gd name="connsiteX17" fmla="*/ 3149435 w 3154215"/>
                <a:gd name="connsiteY17" fmla="*/ 295514 h 1551594"/>
                <a:gd name="connsiteX18" fmla="*/ 3154215 w 3154215"/>
                <a:gd name="connsiteY18" fmla="*/ 298109 h 1551594"/>
                <a:gd name="connsiteX19" fmla="*/ 1561019 w 3154215"/>
                <a:gd name="connsiteY19" fmla="*/ 1551594 h 1551594"/>
                <a:gd name="connsiteX20" fmla="*/ 1560794 w 3154215"/>
                <a:gd name="connsiteY20" fmla="*/ 1551584 h 1551594"/>
                <a:gd name="connsiteX21" fmla="*/ 1577953 w 3154215"/>
                <a:gd name="connsiteY21" fmla="*/ 1550717 h 1551594"/>
                <a:gd name="connsiteX22" fmla="*/ 1515761 w 3154215"/>
                <a:gd name="connsiteY22" fmla="*/ 1549328 h 1551594"/>
                <a:gd name="connsiteX23" fmla="*/ 1556640 w 3154215"/>
                <a:gd name="connsiteY23" fmla="*/ 1551393 h 1551594"/>
                <a:gd name="connsiteX24" fmla="*/ 1407963 w 3154215"/>
                <a:gd name="connsiteY24" fmla="*/ 1544551 h 1551594"/>
                <a:gd name="connsiteX25" fmla="*/ 59809 w 3154215"/>
                <a:gd name="connsiteY25" fmla="*/ 572045 h 1551594"/>
                <a:gd name="connsiteX26" fmla="*/ 14218 w 3154215"/>
                <a:gd name="connsiteY26" fmla="*/ 454109 h 1551594"/>
                <a:gd name="connsiteX27" fmla="*/ 800755 w 3154215"/>
                <a:gd name="connsiteY27" fmla="*/ 0 h 1551594"/>
                <a:gd name="connsiteX0" fmla="*/ 0 w 3147032"/>
                <a:gd name="connsiteY0" fmla="*/ 435912 h 1551594"/>
                <a:gd name="connsiteX1" fmla="*/ 3749 w 3147032"/>
                <a:gd name="connsiteY1" fmla="*/ 445610 h 1551594"/>
                <a:gd name="connsiteX2" fmla="*/ 0 w 3147032"/>
                <a:gd name="connsiteY2" fmla="*/ 435912 h 1551594"/>
                <a:gd name="connsiteX3" fmla="*/ 887158 w 3147032"/>
                <a:gd name="connsiteY3" fmla="*/ 285882 h 1551594"/>
                <a:gd name="connsiteX4" fmla="*/ 890787 w 3147032"/>
                <a:gd name="connsiteY4" fmla="*/ 292989 h 1551594"/>
                <a:gd name="connsiteX5" fmla="*/ 895184 w 3147032"/>
                <a:gd name="connsiteY5" fmla="*/ 299094 h 1551594"/>
                <a:gd name="connsiteX6" fmla="*/ 887158 w 3147032"/>
                <a:gd name="connsiteY6" fmla="*/ 285882 h 1551594"/>
                <a:gd name="connsiteX7" fmla="*/ 793572 w 3147032"/>
                <a:gd name="connsiteY7" fmla="*/ 0 h 1551594"/>
                <a:gd name="connsiteX8" fmla="*/ 798141 w 3147032"/>
                <a:gd name="connsiteY8" fmla="*/ 27406 h 1551594"/>
                <a:gd name="connsiteX9" fmla="*/ 797636 w 3147032"/>
                <a:gd name="connsiteY9" fmla="*/ 21412 h 1551594"/>
                <a:gd name="connsiteX10" fmla="*/ 804230 w 3147032"/>
                <a:gd name="connsiteY10" fmla="*/ 64619 h 1551594"/>
                <a:gd name="connsiteX11" fmla="*/ 1553836 w 3147032"/>
                <a:gd name="connsiteY11" fmla="*/ 675565 h 1551594"/>
                <a:gd name="connsiteX12" fmla="*/ 2302177 w 3147032"/>
                <a:gd name="connsiteY12" fmla="*/ 69757 h 1551594"/>
                <a:gd name="connsiteX13" fmla="*/ 2312853 w 3147032"/>
                <a:gd name="connsiteY13" fmla="*/ 2775 h 1551594"/>
                <a:gd name="connsiteX14" fmla="*/ 3095108 w 3147032"/>
                <a:gd name="connsiteY14" fmla="*/ 454411 h 1551594"/>
                <a:gd name="connsiteX15" fmla="*/ 3135855 w 3147032"/>
                <a:gd name="connsiteY15" fmla="*/ 324622 h 1551594"/>
                <a:gd name="connsiteX16" fmla="*/ 3142252 w 3147032"/>
                <a:gd name="connsiteY16" fmla="*/ 295514 h 1551594"/>
                <a:gd name="connsiteX17" fmla="*/ 3147032 w 3147032"/>
                <a:gd name="connsiteY17" fmla="*/ 298109 h 1551594"/>
                <a:gd name="connsiteX18" fmla="*/ 1553836 w 3147032"/>
                <a:gd name="connsiteY18" fmla="*/ 1551594 h 1551594"/>
                <a:gd name="connsiteX19" fmla="*/ 1553611 w 3147032"/>
                <a:gd name="connsiteY19" fmla="*/ 1551584 h 1551594"/>
                <a:gd name="connsiteX20" fmla="*/ 1570770 w 3147032"/>
                <a:gd name="connsiteY20" fmla="*/ 1550717 h 1551594"/>
                <a:gd name="connsiteX21" fmla="*/ 1508578 w 3147032"/>
                <a:gd name="connsiteY21" fmla="*/ 1549328 h 1551594"/>
                <a:gd name="connsiteX22" fmla="*/ 1549457 w 3147032"/>
                <a:gd name="connsiteY22" fmla="*/ 1551393 h 1551594"/>
                <a:gd name="connsiteX23" fmla="*/ 1400780 w 3147032"/>
                <a:gd name="connsiteY23" fmla="*/ 1544551 h 1551594"/>
                <a:gd name="connsiteX24" fmla="*/ 52626 w 3147032"/>
                <a:gd name="connsiteY24" fmla="*/ 572045 h 1551594"/>
                <a:gd name="connsiteX25" fmla="*/ 7035 w 3147032"/>
                <a:gd name="connsiteY25" fmla="*/ 454109 h 1551594"/>
                <a:gd name="connsiteX26" fmla="*/ 793572 w 3147032"/>
                <a:gd name="connsiteY26" fmla="*/ 0 h 1551594"/>
                <a:gd name="connsiteX0" fmla="*/ 880123 w 3139997"/>
                <a:gd name="connsiteY0" fmla="*/ 285882 h 1551594"/>
                <a:gd name="connsiteX1" fmla="*/ 883752 w 3139997"/>
                <a:gd name="connsiteY1" fmla="*/ 292989 h 1551594"/>
                <a:gd name="connsiteX2" fmla="*/ 888149 w 3139997"/>
                <a:gd name="connsiteY2" fmla="*/ 299094 h 1551594"/>
                <a:gd name="connsiteX3" fmla="*/ 880123 w 3139997"/>
                <a:gd name="connsiteY3" fmla="*/ 285882 h 1551594"/>
                <a:gd name="connsiteX4" fmla="*/ 786537 w 3139997"/>
                <a:gd name="connsiteY4" fmla="*/ 0 h 1551594"/>
                <a:gd name="connsiteX5" fmla="*/ 791106 w 3139997"/>
                <a:gd name="connsiteY5" fmla="*/ 27406 h 1551594"/>
                <a:gd name="connsiteX6" fmla="*/ 790601 w 3139997"/>
                <a:gd name="connsiteY6" fmla="*/ 21412 h 1551594"/>
                <a:gd name="connsiteX7" fmla="*/ 797195 w 3139997"/>
                <a:gd name="connsiteY7" fmla="*/ 64619 h 1551594"/>
                <a:gd name="connsiteX8" fmla="*/ 1546801 w 3139997"/>
                <a:gd name="connsiteY8" fmla="*/ 675565 h 1551594"/>
                <a:gd name="connsiteX9" fmla="*/ 2295142 w 3139997"/>
                <a:gd name="connsiteY9" fmla="*/ 69757 h 1551594"/>
                <a:gd name="connsiteX10" fmla="*/ 2305818 w 3139997"/>
                <a:gd name="connsiteY10" fmla="*/ 2775 h 1551594"/>
                <a:gd name="connsiteX11" fmla="*/ 3088073 w 3139997"/>
                <a:gd name="connsiteY11" fmla="*/ 454411 h 1551594"/>
                <a:gd name="connsiteX12" fmla="*/ 3128820 w 3139997"/>
                <a:gd name="connsiteY12" fmla="*/ 324622 h 1551594"/>
                <a:gd name="connsiteX13" fmla="*/ 3135217 w 3139997"/>
                <a:gd name="connsiteY13" fmla="*/ 295514 h 1551594"/>
                <a:gd name="connsiteX14" fmla="*/ 3139997 w 3139997"/>
                <a:gd name="connsiteY14" fmla="*/ 298109 h 1551594"/>
                <a:gd name="connsiteX15" fmla="*/ 1546801 w 3139997"/>
                <a:gd name="connsiteY15" fmla="*/ 1551594 h 1551594"/>
                <a:gd name="connsiteX16" fmla="*/ 1546576 w 3139997"/>
                <a:gd name="connsiteY16" fmla="*/ 1551584 h 1551594"/>
                <a:gd name="connsiteX17" fmla="*/ 1563735 w 3139997"/>
                <a:gd name="connsiteY17" fmla="*/ 1550717 h 1551594"/>
                <a:gd name="connsiteX18" fmla="*/ 1501543 w 3139997"/>
                <a:gd name="connsiteY18" fmla="*/ 1549328 h 1551594"/>
                <a:gd name="connsiteX19" fmla="*/ 1542422 w 3139997"/>
                <a:gd name="connsiteY19" fmla="*/ 1551393 h 1551594"/>
                <a:gd name="connsiteX20" fmla="*/ 1393745 w 3139997"/>
                <a:gd name="connsiteY20" fmla="*/ 1544551 h 1551594"/>
                <a:gd name="connsiteX21" fmla="*/ 45591 w 3139997"/>
                <a:gd name="connsiteY21" fmla="*/ 572045 h 1551594"/>
                <a:gd name="connsiteX22" fmla="*/ 0 w 3139997"/>
                <a:gd name="connsiteY22" fmla="*/ 454109 h 1551594"/>
                <a:gd name="connsiteX23" fmla="*/ 786537 w 3139997"/>
                <a:gd name="connsiteY23" fmla="*/ 0 h 1551594"/>
                <a:gd name="connsiteX0" fmla="*/ 880123 w 3135217"/>
                <a:gd name="connsiteY0" fmla="*/ 285882 h 1551594"/>
                <a:gd name="connsiteX1" fmla="*/ 883752 w 3135217"/>
                <a:gd name="connsiteY1" fmla="*/ 292989 h 1551594"/>
                <a:gd name="connsiteX2" fmla="*/ 888149 w 3135217"/>
                <a:gd name="connsiteY2" fmla="*/ 299094 h 1551594"/>
                <a:gd name="connsiteX3" fmla="*/ 880123 w 3135217"/>
                <a:gd name="connsiteY3" fmla="*/ 285882 h 1551594"/>
                <a:gd name="connsiteX4" fmla="*/ 786537 w 3135217"/>
                <a:gd name="connsiteY4" fmla="*/ 0 h 1551594"/>
                <a:gd name="connsiteX5" fmla="*/ 791106 w 3135217"/>
                <a:gd name="connsiteY5" fmla="*/ 27406 h 1551594"/>
                <a:gd name="connsiteX6" fmla="*/ 790601 w 3135217"/>
                <a:gd name="connsiteY6" fmla="*/ 21412 h 1551594"/>
                <a:gd name="connsiteX7" fmla="*/ 797195 w 3135217"/>
                <a:gd name="connsiteY7" fmla="*/ 64619 h 1551594"/>
                <a:gd name="connsiteX8" fmla="*/ 1546801 w 3135217"/>
                <a:gd name="connsiteY8" fmla="*/ 675565 h 1551594"/>
                <a:gd name="connsiteX9" fmla="*/ 2295142 w 3135217"/>
                <a:gd name="connsiteY9" fmla="*/ 69757 h 1551594"/>
                <a:gd name="connsiteX10" fmla="*/ 2305818 w 3135217"/>
                <a:gd name="connsiteY10" fmla="*/ 2775 h 1551594"/>
                <a:gd name="connsiteX11" fmla="*/ 3088073 w 3135217"/>
                <a:gd name="connsiteY11" fmla="*/ 454411 h 1551594"/>
                <a:gd name="connsiteX12" fmla="*/ 3128820 w 3135217"/>
                <a:gd name="connsiteY12" fmla="*/ 324622 h 1551594"/>
                <a:gd name="connsiteX13" fmla="*/ 3135217 w 3135217"/>
                <a:gd name="connsiteY13" fmla="*/ 295514 h 1551594"/>
                <a:gd name="connsiteX14" fmla="*/ 3087546 w 3135217"/>
                <a:gd name="connsiteY14" fmla="*/ 460227 h 1551594"/>
                <a:gd name="connsiteX15" fmla="*/ 1546801 w 3135217"/>
                <a:gd name="connsiteY15" fmla="*/ 1551594 h 1551594"/>
                <a:gd name="connsiteX16" fmla="*/ 1546576 w 3135217"/>
                <a:gd name="connsiteY16" fmla="*/ 1551584 h 1551594"/>
                <a:gd name="connsiteX17" fmla="*/ 1563735 w 3135217"/>
                <a:gd name="connsiteY17" fmla="*/ 1550717 h 1551594"/>
                <a:gd name="connsiteX18" fmla="*/ 1501543 w 3135217"/>
                <a:gd name="connsiteY18" fmla="*/ 1549328 h 1551594"/>
                <a:gd name="connsiteX19" fmla="*/ 1542422 w 3135217"/>
                <a:gd name="connsiteY19" fmla="*/ 1551393 h 1551594"/>
                <a:gd name="connsiteX20" fmla="*/ 1393745 w 3135217"/>
                <a:gd name="connsiteY20" fmla="*/ 1544551 h 1551594"/>
                <a:gd name="connsiteX21" fmla="*/ 45591 w 3135217"/>
                <a:gd name="connsiteY21" fmla="*/ 572045 h 1551594"/>
                <a:gd name="connsiteX22" fmla="*/ 0 w 3135217"/>
                <a:gd name="connsiteY22" fmla="*/ 454109 h 1551594"/>
                <a:gd name="connsiteX23" fmla="*/ 786537 w 3135217"/>
                <a:gd name="connsiteY23" fmla="*/ 0 h 1551594"/>
                <a:gd name="connsiteX0" fmla="*/ 880123 w 3135217"/>
                <a:gd name="connsiteY0" fmla="*/ 285882 h 1551594"/>
                <a:gd name="connsiteX1" fmla="*/ 883752 w 3135217"/>
                <a:gd name="connsiteY1" fmla="*/ 292989 h 1551594"/>
                <a:gd name="connsiteX2" fmla="*/ 888149 w 3135217"/>
                <a:gd name="connsiteY2" fmla="*/ 299094 h 1551594"/>
                <a:gd name="connsiteX3" fmla="*/ 880123 w 3135217"/>
                <a:gd name="connsiteY3" fmla="*/ 285882 h 1551594"/>
                <a:gd name="connsiteX4" fmla="*/ 786537 w 3135217"/>
                <a:gd name="connsiteY4" fmla="*/ 0 h 1551594"/>
                <a:gd name="connsiteX5" fmla="*/ 791106 w 3135217"/>
                <a:gd name="connsiteY5" fmla="*/ 27406 h 1551594"/>
                <a:gd name="connsiteX6" fmla="*/ 790601 w 3135217"/>
                <a:gd name="connsiteY6" fmla="*/ 21412 h 1551594"/>
                <a:gd name="connsiteX7" fmla="*/ 797195 w 3135217"/>
                <a:gd name="connsiteY7" fmla="*/ 64619 h 1551594"/>
                <a:gd name="connsiteX8" fmla="*/ 1546801 w 3135217"/>
                <a:gd name="connsiteY8" fmla="*/ 675565 h 1551594"/>
                <a:gd name="connsiteX9" fmla="*/ 2295142 w 3135217"/>
                <a:gd name="connsiteY9" fmla="*/ 69757 h 1551594"/>
                <a:gd name="connsiteX10" fmla="*/ 2305818 w 3135217"/>
                <a:gd name="connsiteY10" fmla="*/ 2775 h 1551594"/>
                <a:gd name="connsiteX11" fmla="*/ 3088073 w 3135217"/>
                <a:gd name="connsiteY11" fmla="*/ 454411 h 1551594"/>
                <a:gd name="connsiteX12" fmla="*/ 3128820 w 3135217"/>
                <a:gd name="connsiteY12" fmla="*/ 324622 h 1551594"/>
                <a:gd name="connsiteX13" fmla="*/ 3135217 w 3135217"/>
                <a:gd name="connsiteY13" fmla="*/ 295514 h 1551594"/>
                <a:gd name="connsiteX14" fmla="*/ 3087546 w 3135217"/>
                <a:gd name="connsiteY14" fmla="*/ 460227 h 1551594"/>
                <a:gd name="connsiteX15" fmla="*/ 1546801 w 3135217"/>
                <a:gd name="connsiteY15" fmla="*/ 1551594 h 1551594"/>
                <a:gd name="connsiteX16" fmla="*/ 1546576 w 3135217"/>
                <a:gd name="connsiteY16" fmla="*/ 1551584 h 1551594"/>
                <a:gd name="connsiteX17" fmla="*/ 1563735 w 3135217"/>
                <a:gd name="connsiteY17" fmla="*/ 1550717 h 1551594"/>
                <a:gd name="connsiteX18" fmla="*/ 1501543 w 3135217"/>
                <a:gd name="connsiteY18" fmla="*/ 1549328 h 1551594"/>
                <a:gd name="connsiteX19" fmla="*/ 1542422 w 3135217"/>
                <a:gd name="connsiteY19" fmla="*/ 1551393 h 1551594"/>
                <a:gd name="connsiteX20" fmla="*/ 1393745 w 3135217"/>
                <a:gd name="connsiteY20" fmla="*/ 1544551 h 1551594"/>
                <a:gd name="connsiteX21" fmla="*/ 45591 w 3135217"/>
                <a:gd name="connsiteY21" fmla="*/ 572045 h 1551594"/>
                <a:gd name="connsiteX22" fmla="*/ 0 w 3135217"/>
                <a:gd name="connsiteY22" fmla="*/ 454109 h 1551594"/>
                <a:gd name="connsiteX23" fmla="*/ 786537 w 3135217"/>
                <a:gd name="connsiteY23" fmla="*/ 0 h 1551594"/>
                <a:gd name="connsiteX0" fmla="*/ 880123 w 3128821"/>
                <a:gd name="connsiteY0" fmla="*/ 285882 h 1551594"/>
                <a:gd name="connsiteX1" fmla="*/ 883752 w 3128821"/>
                <a:gd name="connsiteY1" fmla="*/ 292989 h 1551594"/>
                <a:gd name="connsiteX2" fmla="*/ 888149 w 3128821"/>
                <a:gd name="connsiteY2" fmla="*/ 299094 h 1551594"/>
                <a:gd name="connsiteX3" fmla="*/ 880123 w 3128821"/>
                <a:gd name="connsiteY3" fmla="*/ 285882 h 1551594"/>
                <a:gd name="connsiteX4" fmla="*/ 786537 w 3128821"/>
                <a:gd name="connsiteY4" fmla="*/ 0 h 1551594"/>
                <a:gd name="connsiteX5" fmla="*/ 791106 w 3128821"/>
                <a:gd name="connsiteY5" fmla="*/ 27406 h 1551594"/>
                <a:gd name="connsiteX6" fmla="*/ 790601 w 3128821"/>
                <a:gd name="connsiteY6" fmla="*/ 21412 h 1551594"/>
                <a:gd name="connsiteX7" fmla="*/ 797195 w 3128821"/>
                <a:gd name="connsiteY7" fmla="*/ 64619 h 1551594"/>
                <a:gd name="connsiteX8" fmla="*/ 1546801 w 3128821"/>
                <a:gd name="connsiteY8" fmla="*/ 675565 h 1551594"/>
                <a:gd name="connsiteX9" fmla="*/ 2295142 w 3128821"/>
                <a:gd name="connsiteY9" fmla="*/ 69757 h 1551594"/>
                <a:gd name="connsiteX10" fmla="*/ 2305818 w 3128821"/>
                <a:gd name="connsiteY10" fmla="*/ 2775 h 1551594"/>
                <a:gd name="connsiteX11" fmla="*/ 3088073 w 3128821"/>
                <a:gd name="connsiteY11" fmla="*/ 454411 h 1551594"/>
                <a:gd name="connsiteX12" fmla="*/ 3128820 w 3128821"/>
                <a:gd name="connsiteY12" fmla="*/ 324622 h 1551594"/>
                <a:gd name="connsiteX13" fmla="*/ 3092302 w 3128821"/>
                <a:gd name="connsiteY13" fmla="*/ 457632 h 1551594"/>
                <a:gd name="connsiteX14" fmla="*/ 3087546 w 3128821"/>
                <a:gd name="connsiteY14" fmla="*/ 460227 h 1551594"/>
                <a:gd name="connsiteX15" fmla="*/ 1546801 w 3128821"/>
                <a:gd name="connsiteY15" fmla="*/ 1551594 h 1551594"/>
                <a:gd name="connsiteX16" fmla="*/ 1546576 w 3128821"/>
                <a:gd name="connsiteY16" fmla="*/ 1551584 h 1551594"/>
                <a:gd name="connsiteX17" fmla="*/ 1563735 w 3128821"/>
                <a:gd name="connsiteY17" fmla="*/ 1550717 h 1551594"/>
                <a:gd name="connsiteX18" fmla="*/ 1501543 w 3128821"/>
                <a:gd name="connsiteY18" fmla="*/ 1549328 h 1551594"/>
                <a:gd name="connsiteX19" fmla="*/ 1542422 w 3128821"/>
                <a:gd name="connsiteY19" fmla="*/ 1551393 h 1551594"/>
                <a:gd name="connsiteX20" fmla="*/ 1393745 w 3128821"/>
                <a:gd name="connsiteY20" fmla="*/ 1544551 h 1551594"/>
                <a:gd name="connsiteX21" fmla="*/ 45591 w 3128821"/>
                <a:gd name="connsiteY21" fmla="*/ 572045 h 1551594"/>
                <a:gd name="connsiteX22" fmla="*/ 0 w 3128821"/>
                <a:gd name="connsiteY22" fmla="*/ 454109 h 1551594"/>
                <a:gd name="connsiteX23" fmla="*/ 786537 w 3128821"/>
                <a:gd name="connsiteY23" fmla="*/ 0 h 1551594"/>
                <a:gd name="connsiteX0" fmla="*/ 880123 w 3100209"/>
                <a:gd name="connsiteY0" fmla="*/ 285882 h 1551594"/>
                <a:gd name="connsiteX1" fmla="*/ 883752 w 3100209"/>
                <a:gd name="connsiteY1" fmla="*/ 292989 h 1551594"/>
                <a:gd name="connsiteX2" fmla="*/ 888149 w 3100209"/>
                <a:gd name="connsiteY2" fmla="*/ 299094 h 1551594"/>
                <a:gd name="connsiteX3" fmla="*/ 880123 w 3100209"/>
                <a:gd name="connsiteY3" fmla="*/ 285882 h 1551594"/>
                <a:gd name="connsiteX4" fmla="*/ 786537 w 3100209"/>
                <a:gd name="connsiteY4" fmla="*/ 0 h 1551594"/>
                <a:gd name="connsiteX5" fmla="*/ 791106 w 3100209"/>
                <a:gd name="connsiteY5" fmla="*/ 27406 h 1551594"/>
                <a:gd name="connsiteX6" fmla="*/ 790601 w 3100209"/>
                <a:gd name="connsiteY6" fmla="*/ 21412 h 1551594"/>
                <a:gd name="connsiteX7" fmla="*/ 797195 w 3100209"/>
                <a:gd name="connsiteY7" fmla="*/ 64619 h 1551594"/>
                <a:gd name="connsiteX8" fmla="*/ 1546801 w 3100209"/>
                <a:gd name="connsiteY8" fmla="*/ 675565 h 1551594"/>
                <a:gd name="connsiteX9" fmla="*/ 2295142 w 3100209"/>
                <a:gd name="connsiteY9" fmla="*/ 69757 h 1551594"/>
                <a:gd name="connsiteX10" fmla="*/ 2305818 w 3100209"/>
                <a:gd name="connsiteY10" fmla="*/ 2775 h 1551594"/>
                <a:gd name="connsiteX11" fmla="*/ 3088073 w 3100209"/>
                <a:gd name="connsiteY11" fmla="*/ 454411 h 1551594"/>
                <a:gd name="connsiteX12" fmla="*/ 3100209 w 3100209"/>
                <a:gd name="connsiteY12" fmla="*/ 439059 h 1551594"/>
                <a:gd name="connsiteX13" fmla="*/ 3092302 w 3100209"/>
                <a:gd name="connsiteY13" fmla="*/ 457632 h 1551594"/>
                <a:gd name="connsiteX14" fmla="*/ 3087546 w 3100209"/>
                <a:gd name="connsiteY14" fmla="*/ 460227 h 1551594"/>
                <a:gd name="connsiteX15" fmla="*/ 1546801 w 3100209"/>
                <a:gd name="connsiteY15" fmla="*/ 1551594 h 1551594"/>
                <a:gd name="connsiteX16" fmla="*/ 1546576 w 3100209"/>
                <a:gd name="connsiteY16" fmla="*/ 1551584 h 1551594"/>
                <a:gd name="connsiteX17" fmla="*/ 1563735 w 3100209"/>
                <a:gd name="connsiteY17" fmla="*/ 1550717 h 1551594"/>
                <a:gd name="connsiteX18" fmla="*/ 1501543 w 3100209"/>
                <a:gd name="connsiteY18" fmla="*/ 1549328 h 1551594"/>
                <a:gd name="connsiteX19" fmla="*/ 1542422 w 3100209"/>
                <a:gd name="connsiteY19" fmla="*/ 1551393 h 1551594"/>
                <a:gd name="connsiteX20" fmla="*/ 1393745 w 3100209"/>
                <a:gd name="connsiteY20" fmla="*/ 1544551 h 1551594"/>
                <a:gd name="connsiteX21" fmla="*/ 45591 w 3100209"/>
                <a:gd name="connsiteY21" fmla="*/ 572045 h 1551594"/>
                <a:gd name="connsiteX22" fmla="*/ 0 w 3100209"/>
                <a:gd name="connsiteY22" fmla="*/ 454109 h 1551594"/>
                <a:gd name="connsiteX23" fmla="*/ 786537 w 3100209"/>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92302" h="1551594">
                  <a:moveTo>
                    <a:pt x="880123" y="285882"/>
                  </a:moveTo>
                  <a:cubicBezTo>
                    <a:pt x="881105" y="288376"/>
                    <a:pt x="882422" y="290684"/>
                    <a:pt x="883752" y="292989"/>
                  </a:cubicBezTo>
                  <a:lnTo>
                    <a:pt x="888149" y="299094"/>
                  </a:lnTo>
                  <a:lnTo>
                    <a:pt x="880123" y="285882"/>
                  </a:lnTo>
                  <a:close/>
                  <a:moveTo>
                    <a:pt x="786537" y="0"/>
                  </a:moveTo>
                  <a:lnTo>
                    <a:pt x="791106" y="27406"/>
                  </a:lnTo>
                  <a:cubicBezTo>
                    <a:pt x="790938" y="25408"/>
                    <a:pt x="790769" y="23410"/>
                    <a:pt x="790601" y="21412"/>
                  </a:cubicBezTo>
                  <a:lnTo>
                    <a:pt x="797195" y="64619"/>
                  </a:lnTo>
                  <a:cubicBezTo>
                    <a:pt x="868542" y="413285"/>
                    <a:pt x="1177042" y="675565"/>
                    <a:pt x="1546801" y="675565"/>
                  </a:cubicBezTo>
                  <a:cubicBezTo>
                    <a:pt x="1914741" y="675565"/>
                    <a:pt x="2222023" y="415860"/>
                    <a:pt x="2295142" y="69757"/>
                  </a:cubicBezTo>
                  <a:lnTo>
                    <a:pt x="2305818" y="2775"/>
                  </a:lnTo>
                  <a:lnTo>
                    <a:pt x="3088073" y="454411"/>
                  </a:lnTo>
                  <a:cubicBezTo>
                    <a:pt x="3103491" y="411961"/>
                    <a:pt x="3069407" y="506944"/>
                    <a:pt x="3081136" y="462899"/>
                  </a:cubicBezTo>
                  <a:lnTo>
                    <a:pt x="3092302" y="457632"/>
                  </a:lnTo>
                  <a:lnTo>
                    <a:pt x="3087546" y="460227"/>
                  </a:lnTo>
                  <a:cubicBezTo>
                    <a:pt x="2875140" y="1041414"/>
                    <a:pt x="2319483" y="1551594"/>
                    <a:pt x="1546801" y="1551594"/>
                  </a:cubicBezTo>
                  <a:lnTo>
                    <a:pt x="1546576" y="1551584"/>
                  </a:lnTo>
                  <a:lnTo>
                    <a:pt x="1563735" y="1550717"/>
                  </a:lnTo>
                  <a:lnTo>
                    <a:pt x="1501543" y="1549328"/>
                  </a:lnTo>
                  <a:lnTo>
                    <a:pt x="1542422" y="1551393"/>
                  </a:lnTo>
                  <a:lnTo>
                    <a:pt x="1393745" y="1544551"/>
                  </a:lnTo>
                  <a:cubicBezTo>
                    <a:pt x="789032" y="1488624"/>
                    <a:pt x="279483" y="1104614"/>
                    <a:pt x="45591" y="572045"/>
                  </a:cubicBezTo>
                  <a:lnTo>
                    <a:pt x="0" y="454109"/>
                  </a:lnTo>
                  <a:lnTo>
                    <a:pt x="786537" y="0"/>
                  </a:lnTo>
                  <a:close/>
                </a:path>
              </a:pathLst>
            </a:custGeom>
            <a:solidFill>
              <a:schemeClr val="accent4">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Freeform 30"/>
            <p:cNvSpPr/>
            <p:nvPr/>
          </p:nvSpPr>
          <p:spPr bwMode="auto">
            <a:xfrm>
              <a:off x="4146210" y="2201910"/>
              <a:ext cx="1634298" cy="2174483"/>
            </a:xfrm>
            <a:custGeom>
              <a:avLst/>
              <a:gdLst>
                <a:gd name="connsiteX0" fmla="*/ 1596332 w 1658524"/>
                <a:gd name="connsiteY0" fmla="*/ 3280095 h 3282360"/>
                <a:gd name="connsiteX1" fmla="*/ 1658524 w 1658524"/>
                <a:gd name="connsiteY1" fmla="*/ 3281484 h 3282360"/>
                <a:gd name="connsiteX2" fmla="*/ 1641180 w 1658524"/>
                <a:gd name="connsiteY2" fmla="*/ 3282360 h 3282360"/>
                <a:gd name="connsiteX3" fmla="*/ 974912 w 1658524"/>
                <a:gd name="connsiteY3" fmla="*/ 2016649 h 3282360"/>
                <a:gd name="connsiteX4" fmla="*/ 982938 w 1658524"/>
                <a:gd name="connsiteY4" fmla="*/ 2029861 h 3282360"/>
                <a:gd name="connsiteX5" fmla="*/ 978541 w 1658524"/>
                <a:gd name="connsiteY5" fmla="*/ 2023756 h 3282360"/>
                <a:gd name="connsiteX6" fmla="*/ 974912 w 1658524"/>
                <a:gd name="connsiteY6" fmla="*/ 2016649 h 3282360"/>
                <a:gd name="connsiteX7" fmla="*/ 1634793 w 1658524"/>
                <a:gd name="connsiteY7" fmla="*/ 323 h 3282360"/>
                <a:gd name="connsiteX8" fmla="*/ 1634793 w 1658524"/>
                <a:gd name="connsiteY8" fmla="*/ 876089 h 3282360"/>
                <a:gd name="connsiteX9" fmla="*/ 1635948 w 1658524"/>
                <a:gd name="connsiteY9" fmla="*/ 876030 h 3282360"/>
                <a:gd name="connsiteX10" fmla="*/ 1638554 w 1658524"/>
                <a:gd name="connsiteY10" fmla="*/ 876162 h 3282360"/>
                <a:gd name="connsiteX11" fmla="*/ 1562948 w 1658524"/>
                <a:gd name="connsiteY11" fmla="*/ 879980 h 3282360"/>
                <a:gd name="connsiteX12" fmla="*/ 876029 w 1658524"/>
                <a:gd name="connsiteY12" fmla="*/ 1641180 h 3282360"/>
                <a:gd name="connsiteX13" fmla="*/ 885895 w 1658524"/>
                <a:gd name="connsiteY13" fmla="*/ 1758173 h 3282360"/>
                <a:gd name="connsiteX14" fmla="*/ 881326 w 1658524"/>
                <a:gd name="connsiteY14" fmla="*/ 1730767 h 3282360"/>
                <a:gd name="connsiteX15" fmla="*/ 94266 w 1658524"/>
                <a:gd name="connsiteY15" fmla="*/ 2185177 h 3282360"/>
                <a:gd name="connsiteX16" fmla="*/ 83587 w 1658524"/>
                <a:gd name="connsiteY16" fmla="*/ 2151160 h 3282360"/>
                <a:gd name="connsiteX17" fmla="*/ 80571 w 1658524"/>
                <a:gd name="connsiteY17" fmla="*/ 2141554 h 3282360"/>
                <a:gd name="connsiteX18" fmla="*/ 80572 w 1658524"/>
                <a:gd name="connsiteY18" fmla="*/ 2141559 h 3282360"/>
                <a:gd name="connsiteX19" fmla="*/ 53520 w 1658524"/>
                <a:gd name="connsiteY19" fmla="*/ 2055388 h 3282360"/>
                <a:gd name="connsiteX20" fmla="*/ 0 w 1658524"/>
                <a:gd name="connsiteY20" fmla="*/ 1641180 h 3282360"/>
                <a:gd name="connsiteX21" fmla="*/ 1473379 w 1658524"/>
                <a:gd name="connsiteY21" fmla="*/ 8473 h 3282360"/>
                <a:gd name="connsiteX22" fmla="*/ 1641180 w 1658524"/>
                <a:gd name="connsiteY22" fmla="*/ 0 h 3282360"/>
                <a:gd name="connsiteX23" fmla="*/ 1642335 w 1658524"/>
                <a:gd name="connsiteY23" fmla="*/ 59 h 3282360"/>
                <a:gd name="connsiteX24" fmla="*/ 1642335 w 1658524"/>
                <a:gd name="connsiteY24" fmla="*/ 324 h 3282360"/>
                <a:gd name="connsiteX25" fmla="*/ 1638554 w 1658524"/>
                <a:gd name="connsiteY25" fmla="*/ 133 h 3282360"/>
                <a:gd name="connsiteX0" fmla="*/ 1641180 w 1658524"/>
                <a:gd name="connsiteY0" fmla="*/ 3282360 h 3282360"/>
                <a:gd name="connsiteX1" fmla="*/ 1658524 w 1658524"/>
                <a:gd name="connsiteY1" fmla="*/ 3281484 h 3282360"/>
                <a:gd name="connsiteX2" fmla="*/ 1641180 w 1658524"/>
                <a:gd name="connsiteY2" fmla="*/ 3282360 h 3282360"/>
                <a:gd name="connsiteX3" fmla="*/ 974912 w 1658524"/>
                <a:gd name="connsiteY3" fmla="*/ 2016649 h 3282360"/>
                <a:gd name="connsiteX4" fmla="*/ 982938 w 1658524"/>
                <a:gd name="connsiteY4" fmla="*/ 2029861 h 3282360"/>
                <a:gd name="connsiteX5" fmla="*/ 978541 w 1658524"/>
                <a:gd name="connsiteY5" fmla="*/ 2023756 h 3282360"/>
                <a:gd name="connsiteX6" fmla="*/ 974912 w 1658524"/>
                <a:gd name="connsiteY6" fmla="*/ 2016649 h 3282360"/>
                <a:gd name="connsiteX7" fmla="*/ 1634793 w 1658524"/>
                <a:gd name="connsiteY7" fmla="*/ 323 h 3282360"/>
                <a:gd name="connsiteX8" fmla="*/ 1634793 w 1658524"/>
                <a:gd name="connsiteY8" fmla="*/ 876089 h 3282360"/>
                <a:gd name="connsiteX9" fmla="*/ 1635948 w 1658524"/>
                <a:gd name="connsiteY9" fmla="*/ 876030 h 3282360"/>
                <a:gd name="connsiteX10" fmla="*/ 1638554 w 1658524"/>
                <a:gd name="connsiteY10" fmla="*/ 876162 h 3282360"/>
                <a:gd name="connsiteX11" fmla="*/ 1562948 w 1658524"/>
                <a:gd name="connsiteY11" fmla="*/ 879980 h 3282360"/>
                <a:gd name="connsiteX12" fmla="*/ 876029 w 1658524"/>
                <a:gd name="connsiteY12" fmla="*/ 1641180 h 3282360"/>
                <a:gd name="connsiteX13" fmla="*/ 885895 w 1658524"/>
                <a:gd name="connsiteY13" fmla="*/ 1758173 h 3282360"/>
                <a:gd name="connsiteX14" fmla="*/ 881326 w 1658524"/>
                <a:gd name="connsiteY14" fmla="*/ 1730767 h 3282360"/>
                <a:gd name="connsiteX15" fmla="*/ 94266 w 1658524"/>
                <a:gd name="connsiteY15" fmla="*/ 2185177 h 3282360"/>
                <a:gd name="connsiteX16" fmla="*/ 83587 w 1658524"/>
                <a:gd name="connsiteY16" fmla="*/ 2151160 h 3282360"/>
                <a:gd name="connsiteX17" fmla="*/ 80571 w 1658524"/>
                <a:gd name="connsiteY17" fmla="*/ 2141554 h 3282360"/>
                <a:gd name="connsiteX18" fmla="*/ 80572 w 1658524"/>
                <a:gd name="connsiteY18" fmla="*/ 2141559 h 3282360"/>
                <a:gd name="connsiteX19" fmla="*/ 53520 w 1658524"/>
                <a:gd name="connsiteY19" fmla="*/ 2055388 h 3282360"/>
                <a:gd name="connsiteX20" fmla="*/ 0 w 1658524"/>
                <a:gd name="connsiteY20" fmla="*/ 1641180 h 3282360"/>
                <a:gd name="connsiteX21" fmla="*/ 1473379 w 1658524"/>
                <a:gd name="connsiteY21" fmla="*/ 8473 h 3282360"/>
                <a:gd name="connsiteX22" fmla="*/ 1634793 w 1658524"/>
                <a:gd name="connsiteY22" fmla="*/ 323 h 3282360"/>
                <a:gd name="connsiteX23" fmla="*/ 1641180 w 1658524"/>
                <a:gd name="connsiteY23" fmla="*/ 0 h 3282360"/>
                <a:gd name="connsiteX24" fmla="*/ 1642335 w 1658524"/>
                <a:gd name="connsiteY24" fmla="*/ 59 h 3282360"/>
                <a:gd name="connsiteX25" fmla="*/ 1642335 w 1658524"/>
                <a:gd name="connsiteY25" fmla="*/ 324 h 3282360"/>
                <a:gd name="connsiteX26" fmla="*/ 1638554 w 1658524"/>
                <a:gd name="connsiteY26" fmla="*/ 133 h 3282360"/>
                <a:gd name="connsiteX27" fmla="*/ 1641180 w 1658524"/>
                <a:gd name="connsiteY27" fmla="*/ 0 h 3282360"/>
                <a:gd name="connsiteX0" fmla="*/ 974912 w 1642335"/>
                <a:gd name="connsiteY0" fmla="*/ 2016649 h 2185177"/>
                <a:gd name="connsiteX1" fmla="*/ 982938 w 1642335"/>
                <a:gd name="connsiteY1" fmla="*/ 2029861 h 2185177"/>
                <a:gd name="connsiteX2" fmla="*/ 978541 w 1642335"/>
                <a:gd name="connsiteY2" fmla="*/ 2023756 h 2185177"/>
                <a:gd name="connsiteX3" fmla="*/ 974912 w 1642335"/>
                <a:gd name="connsiteY3" fmla="*/ 2016649 h 2185177"/>
                <a:gd name="connsiteX4" fmla="*/ 1634793 w 1642335"/>
                <a:gd name="connsiteY4" fmla="*/ 323 h 2185177"/>
                <a:gd name="connsiteX5" fmla="*/ 1634793 w 1642335"/>
                <a:gd name="connsiteY5" fmla="*/ 876089 h 2185177"/>
                <a:gd name="connsiteX6" fmla="*/ 1635948 w 1642335"/>
                <a:gd name="connsiteY6" fmla="*/ 876030 h 2185177"/>
                <a:gd name="connsiteX7" fmla="*/ 1638554 w 1642335"/>
                <a:gd name="connsiteY7" fmla="*/ 876162 h 2185177"/>
                <a:gd name="connsiteX8" fmla="*/ 1562948 w 1642335"/>
                <a:gd name="connsiteY8" fmla="*/ 879980 h 2185177"/>
                <a:gd name="connsiteX9" fmla="*/ 876029 w 1642335"/>
                <a:gd name="connsiteY9" fmla="*/ 1641180 h 2185177"/>
                <a:gd name="connsiteX10" fmla="*/ 885895 w 1642335"/>
                <a:gd name="connsiteY10" fmla="*/ 1758173 h 2185177"/>
                <a:gd name="connsiteX11" fmla="*/ 881326 w 1642335"/>
                <a:gd name="connsiteY11" fmla="*/ 1730767 h 2185177"/>
                <a:gd name="connsiteX12" fmla="*/ 94266 w 1642335"/>
                <a:gd name="connsiteY12" fmla="*/ 2185177 h 2185177"/>
                <a:gd name="connsiteX13" fmla="*/ 83587 w 1642335"/>
                <a:gd name="connsiteY13" fmla="*/ 2151160 h 2185177"/>
                <a:gd name="connsiteX14" fmla="*/ 80571 w 1642335"/>
                <a:gd name="connsiteY14" fmla="*/ 2141554 h 2185177"/>
                <a:gd name="connsiteX15" fmla="*/ 80572 w 1642335"/>
                <a:gd name="connsiteY15" fmla="*/ 2141559 h 2185177"/>
                <a:gd name="connsiteX16" fmla="*/ 53520 w 1642335"/>
                <a:gd name="connsiteY16" fmla="*/ 2055388 h 2185177"/>
                <a:gd name="connsiteX17" fmla="*/ 0 w 1642335"/>
                <a:gd name="connsiteY17" fmla="*/ 1641180 h 2185177"/>
                <a:gd name="connsiteX18" fmla="*/ 1473379 w 1642335"/>
                <a:gd name="connsiteY18" fmla="*/ 8473 h 2185177"/>
                <a:gd name="connsiteX19" fmla="*/ 1634793 w 1642335"/>
                <a:gd name="connsiteY19" fmla="*/ 323 h 2185177"/>
                <a:gd name="connsiteX20" fmla="*/ 1641180 w 1642335"/>
                <a:gd name="connsiteY20" fmla="*/ 0 h 2185177"/>
                <a:gd name="connsiteX21" fmla="*/ 1642335 w 1642335"/>
                <a:gd name="connsiteY21" fmla="*/ 59 h 2185177"/>
                <a:gd name="connsiteX22" fmla="*/ 1642335 w 1642335"/>
                <a:gd name="connsiteY22" fmla="*/ 324 h 2185177"/>
                <a:gd name="connsiteX23" fmla="*/ 1638554 w 1642335"/>
                <a:gd name="connsiteY23" fmla="*/ 133 h 2185177"/>
                <a:gd name="connsiteX24" fmla="*/ 1641180 w 1642335"/>
                <a:gd name="connsiteY24" fmla="*/ 0 h 2185177"/>
                <a:gd name="connsiteX0" fmla="*/ 978541 w 1642335"/>
                <a:gd name="connsiteY0" fmla="*/ 2023756 h 2185177"/>
                <a:gd name="connsiteX1" fmla="*/ 982938 w 1642335"/>
                <a:gd name="connsiteY1" fmla="*/ 2029861 h 2185177"/>
                <a:gd name="connsiteX2" fmla="*/ 978541 w 1642335"/>
                <a:gd name="connsiteY2" fmla="*/ 2023756 h 2185177"/>
                <a:gd name="connsiteX3" fmla="*/ 1634793 w 1642335"/>
                <a:gd name="connsiteY3" fmla="*/ 323 h 2185177"/>
                <a:gd name="connsiteX4" fmla="*/ 1634793 w 1642335"/>
                <a:gd name="connsiteY4" fmla="*/ 876089 h 2185177"/>
                <a:gd name="connsiteX5" fmla="*/ 1635948 w 1642335"/>
                <a:gd name="connsiteY5" fmla="*/ 876030 h 2185177"/>
                <a:gd name="connsiteX6" fmla="*/ 1638554 w 1642335"/>
                <a:gd name="connsiteY6" fmla="*/ 876162 h 2185177"/>
                <a:gd name="connsiteX7" fmla="*/ 1562948 w 1642335"/>
                <a:gd name="connsiteY7" fmla="*/ 879980 h 2185177"/>
                <a:gd name="connsiteX8" fmla="*/ 876029 w 1642335"/>
                <a:gd name="connsiteY8" fmla="*/ 1641180 h 2185177"/>
                <a:gd name="connsiteX9" fmla="*/ 885895 w 1642335"/>
                <a:gd name="connsiteY9" fmla="*/ 1758173 h 2185177"/>
                <a:gd name="connsiteX10" fmla="*/ 881326 w 1642335"/>
                <a:gd name="connsiteY10" fmla="*/ 1730767 h 2185177"/>
                <a:gd name="connsiteX11" fmla="*/ 94266 w 1642335"/>
                <a:gd name="connsiteY11" fmla="*/ 2185177 h 2185177"/>
                <a:gd name="connsiteX12" fmla="*/ 83587 w 1642335"/>
                <a:gd name="connsiteY12" fmla="*/ 2151160 h 2185177"/>
                <a:gd name="connsiteX13" fmla="*/ 80571 w 1642335"/>
                <a:gd name="connsiteY13" fmla="*/ 2141554 h 2185177"/>
                <a:gd name="connsiteX14" fmla="*/ 80572 w 1642335"/>
                <a:gd name="connsiteY14" fmla="*/ 2141559 h 2185177"/>
                <a:gd name="connsiteX15" fmla="*/ 53520 w 1642335"/>
                <a:gd name="connsiteY15" fmla="*/ 2055388 h 2185177"/>
                <a:gd name="connsiteX16" fmla="*/ 0 w 1642335"/>
                <a:gd name="connsiteY16" fmla="*/ 1641180 h 2185177"/>
                <a:gd name="connsiteX17" fmla="*/ 1473379 w 1642335"/>
                <a:gd name="connsiteY17" fmla="*/ 8473 h 2185177"/>
                <a:gd name="connsiteX18" fmla="*/ 1634793 w 1642335"/>
                <a:gd name="connsiteY18" fmla="*/ 323 h 2185177"/>
                <a:gd name="connsiteX19" fmla="*/ 1641180 w 1642335"/>
                <a:gd name="connsiteY19" fmla="*/ 0 h 2185177"/>
                <a:gd name="connsiteX20" fmla="*/ 1642335 w 1642335"/>
                <a:gd name="connsiteY20" fmla="*/ 59 h 2185177"/>
                <a:gd name="connsiteX21" fmla="*/ 1642335 w 1642335"/>
                <a:gd name="connsiteY21" fmla="*/ 324 h 2185177"/>
                <a:gd name="connsiteX22" fmla="*/ 1638554 w 1642335"/>
                <a:gd name="connsiteY22" fmla="*/ 133 h 2185177"/>
                <a:gd name="connsiteX23" fmla="*/ 1641180 w 1642335"/>
                <a:gd name="connsiteY23" fmla="*/ 0 h 2185177"/>
                <a:gd name="connsiteX0" fmla="*/ 1634793 w 1642335"/>
                <a:gd name="connsiteY0" fmla="*/ 323 h 2185177"/>
                <a:gd name="connsiteX1" fmla="*/ 1634793 w 1642335"/>
                <a:gd name="connsiteY1" fmla="*/ 876089 h 2185177"/>
                <a:gd name="connsiteX2" fmla="*/ 1635948 w 1642335"/>
                <a:gd name="connsiteY2" fmla="*/ 876030 h 2185177"/>
                <a:gd name="connsiteX3" fmla="*/ 1638554 w 1642335"/>
                <a:gd name="connsiteY3" fmla="*/ 876162 h 2185177"/>
                <a:gd name="connsiteX4" fmla="*/ 1562948 w 1642335"/>
                <a:gd name="connsiteY4" fmla="*/ 879980 h 2185177"/>
                <a:gd name="connsiteX5" fmla="*/ 876029 w 1642335"/>
                <a:gd name="connsiteY5" fmla="*/ 1641180 h 2185177"/>
                <a:gd name="connsiteX6" fmla="*/ 885895 w 1642335"/>
                <a:gd name="connsiteY6" fmla="*/ 1758173 h 2185177"/>
                <a:gd name="connsiteX7" fmla="*/ 881326 w 1642335"/>
                <a:gd name="connsiteY7" fmla="*/ 1730767 h 2185177"/>
                <a:gd name="connsiteX8" fmla="*/ 94266 w 1642335"/>
                <a:gd name="connsiteY8" fmla="*/ 2185177 h 2185177"/>
                <a:gd name="connsiteX9" fmla="*/ 83587 w 1642335"/>
                <a:gd name="connsiteY9" fmla="*/ 2151160 h 2185177"/>
                <a:gd name="connsiteX10" fmla="*/ 80571 w 1642335"/>
                <a:gd name="connsiteY10" fmla="*/ 2141554 h 2185177"/>
                <a:gd name="connsiteX11" fmla="*/ 80572 w 1642335"/>
                <a:gd name="connsiteY11" fmla="*/ 2141559 h 2185177"/>
                <a:gd name="connsiteX12" fmla="*/ 53520 w 1642335"/>
                <a:gd name="connsiteY12" fmla="*/ 2055388 h 2185177"/>
                <a:gd name="connsiteX13" fmla="*/ 0 w 1642335"/>
                <a:gd name="connsiteY13" fmla="*/ 1641180 h 2185177"/>
                <a:gd name="connsiteX14" fmla="*/ 1473379 w 1642335"/>
                <a:gd name="connsiteY14" fmla="*/ 8473 h 2185177"/>
                <a:gd name="connsiteX15" fmla="*/ 1634793 w 1642335"/>
                <a:gd name="connsiteY15" fmla="*/ 323 h 2185177"/>
                <a:gd name="connsiteX16" fmla="*/ 1641180 w 1642335"/>
                <a:gd name="connsiteY16" fmla="*/ 0 h 2185177"/>
                <a:gd name="connsiteX17" fmla="*/ 1642335 w 1642335"/>
                <a:gd name="connsiteY17" fmla="*/ 59 h 2185177"/>
                <a:gd name="connsiteX18" fmla="*/ 1642335 w 1642335"/>
                <a:gd name="connsiteY18" fmla="*/ 324 h 2185177"/>
                <a:gd name="connsiteX19" fmla="*/ 1638554 w 1642335"/>
                <a:gd name="connsiteY19" fmla="*/ 133 h 2185177"/>
                <a:gd name="connsiteX20" fmla="*/ 1641180 w 1642335"/>
                <a:gd name="connsiteY20" fmla="*/ 0 h 2185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2335" h="2185177">
                  <a:moveTo>
                    <a:pt x="1634793" y="323"/>
                  </a:moveTo>
                  <a:lnTo>
                    <a:pt x="1634793" y="876089"/>
                  </a:lnTo>
                  <a:cubicBezTo>
                    <a:pt x="1635178" y="876030"/>
                    <a:pt x="1635563" y="876030"/>
                    <a:pt x="1635948" y="876030"/>
                  </a:cubicBezTo>
                  <a:lnTo>
                    <a:pt x="1638554" y="876162"/>
                  </a:lnTo>
                  <a:lnTo>
                    <a:pt x="1562948" y="879980"/>
                  </a:lnTo>
                  <a:cubicBezTo>
                    <a:pt x="1177116" y="919163"/>
                    <a:pt x="876029" y="1245010"/>
                    <a:pt x="876029" y="1641180"/>
                  </a:cubicBezTo>
                  <a:cubicBezTo>
                    <a:pt x="876029" y="1681011"/>
                    <a:pt x="879073" y="1720131"/>
                    <a:pt x="885895" y="1758173"/>
                  </a:cubicBezTo>
                  <a:lnTo>
                    <a:pt x="881326" y="1730767"/>
                  </a:lnTo>
                  <a:lnTo>
                    <a:pt x="94266" y="2185177"/>
                  </a:lnTo>
                  <a:lnTo>
                    <a:pt x="83587" y="2151160"/>
                  </a:lnTo>
                  <a:lnTo>
                    <a:pt x="80571" y="2141554"/>
                  </a:lnTo>
                  <a:cubicBezTo>
                    <a:pt x="80571" y="2141556"/>
                    <a:pt x="80572" y="2141557"/>
                    <a:pt x="80572" y="2141559"/>
                  </a:cubicBezTo>
                  <a:lnTo>
                    <a:pt x="53520" y="2055388"/>
                  </a:lnTo>
                  <a:cubicBezTo>
                    <a:pt x="18335" y="1923253"/>
                    <a:pt x="0" y="1784358"/>
                    <a:pt x="0" y="1641180"/>
                  </a:cubicBezTo>
                  <a:cubicBezTo>
                    <a:pt x="0" y="791432"/>
                    <a:pt x="645805" y="92518"/>
                    <a:pt x="1473379" y="8473"/>
                  </a:cubicBezTo>
                  <a:lnTo>
                    <a:pt x="1634793" y="323"/>
                  </a:lnTo>
                  <a:close/>
                  <a:moveTo>
                    <a:pt x="1641180" y="0"/>
                  </a:moveTo>
                  <a:lnTo>
                    <a:pt x="1642335" y="59"/>
                  </a:lnTo>
                  <a:lnTo>
                    <a:pt x="1642335" y="324"/>
                  </a:lnTo>
                  <a:lnTo>
                    <a:pt x="1638554" y="133"/>
                  </a:lnTo>
                  <a:lnTo>
                    <a:pt x="1641180" y="0"/>
                  </a:lnTo>
                  <a:close/>
                </a:path>
              </a:pathLst>
            </a:custGeom>
            <a:solidFill>
              <a:schemeClr val="accent4">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Donut 28"/>
            <p:cNvSpPr/>
            <p:nvPr/>
          </p:nvSpPr>
          <p:spPr bwMode="auto">
            <a:xfrm flipH="1">
              <a:off x="5809402" y="2201911"/>
              <a:ext cx="1634298" cy="2174483"/>
            </a:xfrm>
            <a:custGeom>
              <a:avLst/>
              <a:gdLst>
                <a:gd name="connsiteX0" fmla="*/ 1966050 w 1986827"/>
                <a:gd name="connsiteY0" fmla="*/ 3932100 h 3932100"/>
                <a:gd name="connsiteX1" fmla="*/ 1986827 w 1986827"/>
                <a:gd name="connsiteY1" fmla="*/ 3931051 h 3932100"/>
                <a:gd name="connsiteX2" fmla="*/ 1966050 w 1986827"/>
                <a:gd name="connsiteY2" fmla="*/ 3932100 h 3932100"/>
                <a:gd name="connsiteX3" fmla="*/ 1167894 w 1986827"/>
                <a:gd name="connsiteY3" fmla="*/ 2415843 h 3932100"/>
                <a:gd name="connsiteX4" fmla="*/ 1177509 w 1986827"/>
                <a:gd name="connsiteY4" fmla="*/ 2431670 h 3932100"/>
                <a:gd name="connsiteX5" fmla="*/ 1172242 w 1986827"/>
                <a:gd name="connsiteY5" fmla="*/ 2424356 h 3932100"/>
                <a:gd name="connsiteX6" fmla="*/ 1167894 w 1986827"/>
                <a:gd name="connsiteY6" fmla="*/ 2415843 h 3932100"/>
                <a:gd name="connsiteX7" fmla="*/ 1966050 w 1986827"/>
                <a:gd name="connsiteY7" fmla="*/ 0 h 3932100"/>
                <a:gd name="connsiteX8" fmla="*/ 1967433 w 1986827"/>
                <a:gd name="connsiteY8" fmla="*/ 70 h 3932100"/>
                <a:gd name="connsiteX9" fmla="*/ 1967433 w 1986827"/>
                <a:gd name="connsiteY9" fmla="*/ 1049508 h 3932100"/>
                <a:gd name="connsiteX10" fmla="*/ 1966050 w 1986827"/>
                <a:gd name="connsiteY10" fmla="*/ 1049438 h 3932100"/>
                <a:gd name="connsiteX11" fmla="*/ 1049438 w 1986827"/>
                <a:gd name="connsiteY11" fmla="*/ 1966050 h 3932100"/>
                <a:gd name="connsiteX12" fmla="*/ 1061257 w 1986827"/>
                <a:gd name="connsiteY12" fmla="*/ 2106201 h 3932100"/>
                <a:gd name="connsiteX13" fmla="*/ 1055783 w 1986827"/>
                <a:gd name="connsiteY13" fmla="*/ 2073370 h 3932100"/>
                <a:gd name="connsiteX14" fmla="*/ 112926 w 1986827"/>
                <a:gd name="connsiteY14" fmla="*/ 2617730 h 3932100"/>
                <a:gd name="connsiteX15" fmla="*/ 0 w 1986827"/>
                <a:gd name="connsiteY15" fmla="*/ 1966050 h 3932100"/>
                <a:gd name="connsiteX16" fmla="*/ 1966050 w 1986827"/>
                <a:gd name="connsiteY16" fmla="*/ 0 h 3932100"/>
                <a:gd name="connsiteX0" fmla="*/ 1167894 w 1967433"/>
                <a:gd name="connsiteY0" fmla="*/ 2415843 h 2617729"/>
                <a:gd name="connsiteX1" fmla="*/ 1177509 w 1967433"/>
                <a:gd name="connsiteY1" fmla="*/ 2431670 h 2617729"/>
                <a:gd name="connsiteX2" fmla="*/ 1172242 w 1967433"/>
                <a:gd name="connsiteY2" fmla="*/ 2424356 h 2617729"/>
                <a:gd name="connsiteX3" fmla="*/ 1167894 w 1967433"/>
                <a:gd name="connsiteY3" fmla="*/ 2415843 h 2617729"/>
                <a:gd name="connsiteX4" fmla="*/ 1966050 w 1967433"/>
                <a:gd name="connsiteY4" fmla="*/ 0 h 2617729"/>
                <a:gd name="connsiteX5" fmla="*/ 1967433 w 1967433"/>
                <a:gd name="connsiteY5" fmla="*/ 70 h 2617729"/>
                <a:gd name="connsiteX6" fmla="*/ 1967433 w 1967433"/>
                <a:gd name="connsiteY6" fmla="*/ 1049508 h 2617729"/>
                <a:gd name="connsiteX7" fmla="*/ 1966050 w 1967433"/>
                <a:gd name="connsiteY7" fmla="*/ 1049438 h 2617729"/>
                <a:gd name="connsiteX8" fmla="*/ 1049438 w 1967433"/>
                <a:gd name="connsiteY8" fmla="*/ 1966050 h 2617729"/>
                <a:gd name="connsiteX9" fmla="*/ 1061257 w 1967433"/>
                <a:gd name="connsiteY9" fmla="*/ 2106201 h 2617729"/>
                <a:gd name="connsiteX10" fmla="*/ 1055783 w 1967433"/>
                <a:gd name="connsiteY10" fmla="*/ 2073370 h 2617729"/>
                <a:gd name="connsiteX11" fmla="*/ 112926 w 1967433"/>
                <a:gd name="connsiteY11" fmla="*/ 2617730 h 2617729"/>
                <a:gd name="connsiteX12" fmla="*/ 0 w 1967433"/>
                <a:gd name="connsiteY12" fmla="*/ 1966050 h 2617729"/>
                <a:gd name="connsiteX13" fmla="*/ 1966050 w 1967433"/>
                <a:gd name="connsiteY13" fmla="*/ 0 h 2617729"/>
                <a:gd name="connsiteX0" fmla="*/ 1172242 w 1967433"/>
                <a:gd name="connsiteY0" fmla="*/ 2424356 h 2617730"/>
                <a:gd name="connsiteX1" fmla="*/ 1177509 w 1967433"/>
                <a:gd name="connsiteY1" fmla="*/ 2431670 h 2617730"/>
                <a:gd name="connsiteX2" fmla="*/ 1172242 w 1967433"/>
                <a:gd name="connsiteY2" fmla="*/ 2424356 h 2617730"/>
                <a:gd name="connsiteX3" fmla="*/ 1966050 w 1967433"/>
                <a:gd name="connsiteY3" fmla="*/ 0 h 2617730"/>
                <a:gd name="connsiteX4" fmla="*/ 1967433 w 1967433"/>
                <a:gd name="connsiteY4" fmla="*/ 70 h 2617730"/>
                <a:gd name="connsiteX5" fmla="*/ 1967433 w 1967433"/>
                <a:gd name="connsiteY5" fmla="*/ 1049508 h 2617730"/>
                <a:gd name="connsiteX6" fmla="*/ 1966050 w 1967433"/>
                <a:gd name="connsiteY6" fmla="*/ 1049438 h 2617730"/>
                <a:gd name="connsiteX7" fmla="*/ 1049438 w 1967433"/>
                <a:gd name="connsiteY7" fmla="*/ 1966050 h 2617730"/>
                <a:gd name="connsiteX8" fmla="*/ 1061257 w 1967433"/>
                <a:gd name="connsiteY8" fmla="*/ 2106201 h 2617730"/>
                <a:gd name="connsiteX9" fmla="*/ 1055783 w 1967433"/>
                <a:gd name="connsiteY9" fmla="*/ 2073370 h 2617730"/>
                <a:gd name="connsiteX10" fmla="*/ 112926 w 1967433"/>
                <a:gd name="connsiteY10" fmla="*/ 2617730 h 2617730"/>
                <a:gd name="connsiteX11" fmla="*/ 0 w 1967433"/>
                <a:gd name="connsiteY11" fmla="*/ 1966050 h 2617730"/>
                <a:gd name="connsiteX12" fmla="*/ 1966050 w 1967433"/>
                <a:gd name="connsiteY12" fmla="*/ 0 h 2617730"/>
                <a:gd name="connsiteX0" fmla="*/ 1966050 w 1967433"/>
                <a:gd name="connsiteY0" fmla="*/ 0 h 2617730"/>
                <a:gd name="connsiteX1" fmla="*/ 1967433 w 1967433"/>
                <a:gd name="connsiteY1" fmla="*/ 70 h 2617730"/>
                <a:gd name="connsiteX2" fmla="*/ 1967433 w 1967433"/>
                <a:gd name="connsiteY2" fmla="*/ 1049508 h 2617730"/>
                <a:gd name="connsiteX3" fmla="*/ 1966050 w 1967433"/>
                <a:gd name="connsiteY3" fmla="*/ 1049438 h 2617730"/>
                <a:gd name="connsiteX4" fmla="*/ 1049438 w 1967433"/>
                <a:gd name="connsiteY4" fmla="*/ 1966050 h 2617730"/>
                <a:gd name="connsiteX5" fmla="*/ 1061257 w 1967433"/>
                <a:gd name="connsiteY5" fmla="*/ 2106201 h 2617730"/>
                <a:gd name="connsiteX6" fmla="*/ 1055783 w 1967433"/>
                <a:gd name="connsiteY6" fmla="*/ 2073370 h 2617730"/>
                <a:gd name="connsiteX7" fmla="*/ 112926 w 1967433"/>
                <a:gd name="connsiteY7" fmla="*/ 2617730 h 2617730"/>
                <a:gd name="connsiteX8" fmla="*/ 0 w 1967433"/>
                <a:gd name="connsiteY8" fmla="*/ 1966050 h 2617730"/>
                <a:gd name="connsiteX9" fmla="*/ 1966050 w 1967433"/>
                <a:gd name="connsiteY9" fmla="*/ 0 h 261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7433" h="2617730">
                  <a:moveTo>
                    <a:pt x="1966050" y="0"/>
                  </a:moveTo>
                  <a:lnTo>
                    <a:pt x="1967433" y="70"/>
                  </a:lnTo>
                  <a:lnTo>
                    <a:pt x="1967433" y="1049508"/>
                  </a:lnTo>
                  <a:cubicBezTo>
                    <a:pt x="1966972" y="1049438"/>
                    <a:pt x="1966511" y="1049438"/>
                    <a:pt x="1966050" y="1049438"/>
                  </a:cubicBezTo>
                  <a:cubicBezTo>
                    <a:pt x="1459819" y="1049438"/>
                    <a:pt x="1049438" y="1459819"/>
                    <a:pt x="1049438" y="1966050"/>
                  </a:cubicBezTo>
                  <a:cubicBezTo>
                    <a:pt x="1049438" y="2013765"/>
                    <a:pt x="1053084" y="2060629"/>
                    <a:pt x="1061257" y="2106201"/>
                  </a:cubicBezTo>
                  <a:lnTo>
                    <a:pt x="1055783" y="2073370"/>
                  </a:lnTo>
                  <a:lnTo>
                    <a:pt x="112926" y="2617730"/>
                  </a:lnTo>
                  <a:cubicBezTo>
                    <a:pt x="39047" y="2414315"/>
                    <a:pt x="0" y="2194742"/>
                    <a:pt x="0" y="1966050"/>
                  </a:cubicBezTo>
                  <a:cubicBezTo>
                    <a:pt x="0" y="880231"/>
                    <a:pt x="880231" y="0"/>
                    <a:pt x="1966050" y="0"/>
                  </a:cubicBezTo>
                  <a:close/>
                </a:path>
              </a:pathLst>
            </a:custGeom>
            <a:solidFill>
              <a:srgbClr val="FB8B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icon GEARS"/>
            <p:cNvSpPr>
              <a:spLocks noEditPoints="1"/>
            </p:cNvSpPr>
            <p:nvPr/>
          </p:nvSpPr>
          <p:spPr bwMode="auto">
            <a:xfrm>
              <a:off x="4442132" y="3045909"/>
              <a:ext cx="655257" cy="54708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tx1"/>
            </a:solidFill>
            <a:ln>
              <a:noFill/>
            </a:ln>
            <a:extLst/>
          </p:spPr>
          <p:txBody>
            <a:bodyPr/>
            <a:lstStyle/>
            <a:p>
              <a:pPr defTabSz="931684" fontAlgn="base">
                <a:spcBef>
                  <a:spcPct val="0"/>
                </a:spcBef>
                <a:spcAft>
                  <a:spcPct val="0"/>
                </a:spcAft>
              </a:pPr>
              <a:endParaRPr lang="en-US" sz="2000">
                <a:solidFill>
                  <a:srgbClr val="000000"/>
                </a:solidFill>
                <a:ea typeface="MS PGothic" charset="0"/>
              </a:endParaRPr>
            </a:p>
          </p:txBody>
        </p:sp>
        <p:grpSp>
          <p:nvGrpSpPr>
            <p:cNvPr id="34" name="Group 33"/>
            <p:cNvGrpSpPr/>
            <p:nvPr/>
          </p:nvGrpSpPr>
          <p:grpSpPr>
            <a:xfrm>
              <a:off x="5264271" y="4743884"/>
              <a:ext cx="428465" cy="507582"/>
              <a:chOff x="4583208" y="4043392"/>
              <a:chExt cx="664910" cy="787691"/>
            </a:xfrm>
          </p:grpSpPr>
          <p:sp>
            <p:nvSpPr>
              <p:cNvPr id="60" name="Freeform 9"/>
              <p:cNvSpPr>
                <a:spLocks noEditPoints="1"/>
              </p:cNvSpPr>
              <p:nvPr/>
            </p:nvSpPr>
            <p:spPr bwMode="auto">
              <a:xfrm>
                <a:off x="4583208" y="4043392"/>
                <a:ext cx="664910" cy="787691"/>
              </a:xfrm>
              <a:custGeom>
                <a:avLst/>
                <a:gdLst>
                  <a:gd name="T0" fmla="*/ 473133 w 2604"/>
                  <a:gd name="T1" fmla="*/ 59369 h 3084"/>
                  <a:gd name="T2" fmla="*/ 420184 w 2604"/>
                  <a:gd name="T3" fmla="*/ 28361 h 3084"/>
                  <a:gd name="T4" fmla="*/ 341707 w 2604"/>
                  <a:gd name="T5" fmla="*/ 7563 h 3084"/>
                  <a:gd name="T6" fmla="*/ 246778 w 2604"/>
                  <a:gd name="T7" fmla="*/ 0 h 3084"/>
                  <a:gd name="T8" fmla="*/ 246778 w 2604"/>
                  <a:gd name="T9" fmla="*/ 0 h 3084"/>
                  <a:gd name="T10" fmla="*/ 246778 w 2604"/>
                  <a:gd name="T11" fmla="*/ 0 h 3084"/>
                  <a:gd name="T12" fmla="*/ 246211 w 2604"/>
                  <a:gd name="T13" fmla="*/ 0 h 3084"/>
                  <a:gd name="T14" fmla="*/ 245643 w 2604"/>
                  <a:gd name="T15" fmla="*/ 0 h 3084"/>
                  <a:gd name="T16" fmla="*/ 245643 w 2604"/>
                  <a:gd name="T17" fmla="*/ 0 h 3084"/>
                  <a:gd name="T18" fmla="*/ 245643 w 2604"/>
                  <a:gd name="T19" fmla="*/ 0 h 3084"/>
                  <a:gd name="T20" fmla="*/ 150714 w 2604"/>
                  <a:gd name="T21" fmla="*/ 7563 h 3084"/>
                  <a:gd name="T22" fmla="*/ 72237 w 2604"/>
                  <a:gd name="T23" fmla="*/ 28361 h 3084"/>
                  <a:gd name="T24" fmla="*/ 19288 w 2604"/>
                  <a:gd name="T25" fmla="*/ 59369 h 3084"/>
                  <a:gd name="T26" fmla="*/ 0 w 2604"/>
                  <a:gd name="T27" fmla="*/ 97183 h 3084"/>
                  <a:gd name="T28" fmla="*/ 0 w 2604"/>
                  <a:gd name="T29" fmla="*/ 485916 h 3084"/>
                  <a:gd name="T30" fmla="*/ 4917 w 2604"/>
                  <a:gd name="T31" fmla="*/ 505390 h 3084"/>
                  <a:gd name="T32" fmla="*/ 19288 w 2604"/>
                  <a:gd name="T33" fmla="*/ 523730 h 3084"/>
                  <a:gd name="T34" fmla="*/ 72237 w 2604"/>
                  <a:gd name="T35" fmla="*/ 554549 h 3084"/>
                  <a:gd name="T36" fmla="*/ 245643 w 2604"/>
                  <a:gd name="T37" fmla="*/ 583099 h 3084"/>
                  <a:gd name="T38" fmla="*/ 245643 w 2604"/>
                  <a:gd name="T39" fmla="*/ 583099 h 3084"/>
                  <a:gd name="T40" fmla="*/ 245643 w 2604"/>
                  <a:gd name="T41" fmla="*/ 583099 h 3084"/>
                  <a:gd name="T42" fmla="*/ 246211 w 2604"/>
                  <a:gd name="T43" fmla="*/ 583099 h 3084"/>
                  <a:gd name="T44" fmla="*/ 246778 w 2604"/>
                  <a:gd name="T45" fmla="*/ 583099 h 3084"/>
                  <a:gd name="T46" fmla="*/ 246778 w 2604"/>
                  <a:gd name="T47" fmla="*/ 583099 h 3084"/>
                  <a:gd name="T48" fmla="*/ 246778 w 2604"/>
                  <a:gd name="T49" fmla="*/ 583099 h 3084"/>
                  <a:gd name="T50" fmla="*/ 420184 w 2604"/>
                  <a:gd name="T51" fmla="*/ 554549 h 3084"/>
                  <a:gd name="T52" fmla="*/ 473133 w 2604"/>
                  <a:gd name="T53" fmla="*/ 523730 h 3084"/>
                  <a:gd name="T54" fmla="*/ 487504 w 2604"/>
                  <a:gd name="T55" fmla="*/ 505390 h 3084"/>
                  <a:gd name="T56" fmla="*/ 492421 w 2604"/>
                  <a:gd name="T57" fmla="*/ 485916 h 3084"/>
                  <a:gd name="T58" fmla="*/ 492421 w 2604"/>
                  <a:gd name="T59" fmla="*/ 97183 h 3084"/>
                  <a:gd name="T60" fmla="*/ 473133 w 2604"/>
                  <a:gd name="T61" fmla="*/ 59369 h 3084"/>
                  <a:gd name="T62" fmla="*/ 246211 w 2604"/>
                  <a:gd name="T63" fmla="*/ 145586 h 3084"/>
                  <a:gd name="T64" fmla="*/ 43304 w 2604"/>
                  <a:gd name="T65" fmla="*/ 87351 h 3084"/>
                  <a:gd name="T66" fmla="*/ 246211 w 2604"/>
                  <a:gd name="T67" fmla="*/ 29117 h 3084"/>
                  <a:gd name="T68" fmla="*/ 449117 w 2604"/>
                  <a:gd name="T69" fmla="*/ 87351 h 3084"/>
                  <a:gd name="T70" fmla="*/ 246211 w 2604"/>
                  <a:gd name="T71" fmla="*/ 145586 h 30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604" h="3084">
                    <a:moveTo>
                      <a:pt x="2502" y="314"/>
                    </a:moveTo>
                    <a:cubicBezTo>
                      <a:pt x="2436" y="252"/>
                      <a:pt x="2340" y="197"/>
                      <a:pt x="2222" y="150"/>
                    </a:cubicBezTo>
                    <a:cubicBezTo>
                      <a:pt x="2104" y="104"/>
                      <a:pt x="1963" y="66"/>
                      <a:pt x="1807" y="40"/>
                    </a:cubicBezTo>
                    <a:cubicBezTo>
                      <a:pt x="1652" y="14"/>
                      <a:pt x="1483" y="0"/>
                      <a:pt x="1305" y="0"/>
                    </a:cubicBezTo>
                    <a:cubicBezTo>
                      <a:pt x="1305" y="0"/>
                      <a:pt x="1305" y="0"/>
                      <a:pt x="1305" y="0"/>
                    </a:cubicBezTo>
                    <a:cubicBezTo>
                      <a:pt x="1305" y="0"/>
                      <a:pt x="1305" y="0"/>
                      <a:pt x="1305" y="0"/>
                    </a:cubicBezTo>
                    <a:cubicBezTo>
                      <a:pt x="1304" y="0"/>
                      <a:pt x="1303" y="0"/>
                      <a:pt x="1302" y="0"/>
                    </a:cubicBezTo>
                    <a:cubicBezTo>
                      <a:pt x="1301" y="0"/>
                      <a:pt x="1300" y="0"/>
                      <a:pt x="1299" y="0"/>
                    </a:cubicBezTo>
                    <a:cubicBezTo>
                      <a:pt x="1299" y="0"/>
                      <a:pt x="1299" y="0"/>
                      <a:pt x="1299" y="0"/>
                    </a:cubicBezTo>
                    <a:cubicBezTo>
                      <a:pt x="1299" y="0"/>
                      <a:pt x="1299" y="0"/>
                      <a:pt x="1299" y="0"/>
                    </a:cubicBezTo>
                    <a:cubicBezTo>
                      <a:pt x="1121" y="0"/>
                      <a:pt x="951" y="14"/>
                      <a:pt x="797" y="40"/>
                    </a:cubicBezTo>
                    <a:cubicBezTo>
                      <a:pt x="641" y="66"/>
                      <a:pt x="500" y="104"/>
                      <a:pt x="382" y="150"/>
                    </a:cubicBezTo>
                    <a:cubicBezTo>
                      <a:pt x="264" y="197"/>
                      <a:pt x="168" y="252"/>
                      <a:pt x="102" y="314"/>
                    </a:cubicBezTo>
                    <a:cubicBezTo>
                      <a:pt x="36" y="375"/>
                      <a:pt x="0" y="443"/>
                      <a:pt x="0" y="514"/>
                    </a:cubicBezTo>
                    <a:cubicBezTo>
                      <a:pt x="0" y="2570"/>
                      <a:pt x="0" y="2570"/>
                      <a:pt x="0" y="2570"/>
                    </a:cubicBezTo>
                    <a:cubicBezTo>
                      <a:pt x="0" y="2605"/>
                      <a:pt x="9" y="2640"/>
                      <a:pt x="26" y="2673"/>
                    </a:cubicBezTo>
                    <a:cubicBezTo>
                      <a:pt x="44" y="2707"/>
                      <a:pt x="69" y="2739"/>
                      <a:pt x="102" y="2770"/>
                    </a:cubicBezTo>
                    <a:cubicBezTo>
                      <a:pt x="168" y="2831"/>
                      <a:pt x="264" y="2887"/>
                      <a:pt x="382" y="2933"/>
                    </a:cubicBezTo>
                    <a:cubicBezTo>
                      <a:pt x="617" y="3026"/>
                      <a:pt x="941" y="3083"/>
                      <a:pt x="1299" y="3084"/>
                    </a:cubicBezTo>
                    <a:cubicBezTo>
                      <a:pt x="1299" y="3084"/>
                      <a:pt x="1299" y="3084"/>
                      <a:pt x="1299" y="3084"/>
                    </a:cubicBezTo>
                    <a:cubicBezTo>
                      <a:pt x="1299" y="3084"/>
                      <a:pt x="1299" y="3084"/>
                      <a:pt x="1299" y="3084"/>
                    </a:cubicBezTo>
                    <a:cubicBezTo>
                      <a:pt x="1300" y="3084"/>
                      <a:pt x="1301" y="3084"/>
                      <a:pt x="1302" y="3084"/>
                    </a:cubicBezTo>
                    <a:cubicBezTo>
                      <a:pt x="1303" y="3084"/>
                      <a:pt x="1304" y="3084"/>
                      <a:pt x="1305" y="3084"/>
                    </a:cubicBezTo>
                    <a:cubicBezTo>
                      <a:pt x="1305" y="3084"/>
                      <a:pt x="1305" y="3084"/>
                      <a:pt x="1305" y="3084"/>
                    </a:cubicBezTo>
                    <a:cubicBezTo>
                      <a:pt x="1305" y="3084"/>
                      <a:pt x="1305" y="3084"/>
                      <a:pt x="1305" y="3084"/>
                    </a:cubicBezTo>
                    <a:cubicBezTo>
                      <a:pt x="1663" y="3083"/>
                      <a:pt x="1987" y="3026"/>
                      <a:pt x="2222" y="2933"/>
                    </a:cubicBezTo>
                    <a:cubicBezTo>
                      <a:pt x="2340" y="2887"/>
                      <a:pt x="2436" y="2831"/>
                      <a:pt x="2502" y="2770"/>
                    </a:cubicBezTo>
                    <a:cubicBezTo>
                      <a:pt x="2535" y="2739"/>
                      <a:pt x="2560" y="2707"/>
                      <a:pt x="2578" y="2673"/>
                    </a:cubicBezTo>
                    <a:cubicBezTo>
                      <a:pt x="2595" y="2640"/>
                      <a:pt x="2604" y="2605"/>
                      <a:pt x="2604" y="2570"/>
                    </a:cubicBezTo>
                    <a:cubicBezTo>
                      <a:pt x="2604" y="514"/>
                      <a:pt x="2604" y="514"/>
                      <a:pt x="2604" y="514"/>
                    </a:cubicBezTo>
                    <a:cubicBezTo>
                      <a:pt x="2604" y="443"/>
                      <a:pt x="2568" y="375"/>
                      <a:pt x="2502" y="314"/>
                    </a:cubicBezTo>
                    <a:close/>
                    <a:moveTo>
                      <a:pt x="1302" y="770"/>
                    </a:moveTo>
                    <a:cubicBezTo>
                      <a:pt x="708" y="769"/>
                      <a:pt x="229" y="631"/>
                      <a:pt x="229" y="462"/>
                    </a:cubicBezTo>
                    <a:cubicBezTo>
                      <a:pt x="229" y="293"/>
                      <a:pt x="708" y="155"/>
                      <a:pt x="1302" y="154"/>
                    </a:cubicBezTo>
                    <a:cubicBezTo>
                      <a:pt x="1896" y="155"/>
                      <a:pt x="2375" y="293"/>
                      <a:pt x="2375" y="462"/>
                    </a:cubicBezTo>
                    <a:cubicBezTo>
                      <a:pt x="2375" y="631"/>
                      <a:pt x="1896" y="769"/>
                      <a:pt x="1302" y="770"/>
                    </a:cubicBezTo>
                    <a:close/>
                  </a:path>
                </a:pathLst>
              </a:custGeom>
              <a:solidFill>
                <a:schemeClr val="tx1"/>
              </a:solidFill>
              <a:ln>
                <a:noFill/>
              </a:ln>
              <a:extLst/>
            </p:spPr>
            <p:txBody>
              <a:bodyPr lIns="91414" tIns="45706" rIns="91414" bIns="45706"/>
              <a:lstStyle/>
              <a:p>
                <a:pPr defTabSz="931684" fontAlgn="base">
                  <a:spcBef>
                    <a:spcPct val="0"/>
                  </a:spcBef>
                  <a:spcAft>
                    <a:spcPct val="0"/>
                  </a:spcAft>
                </a:pPr>
                <a:endParaRPr lang="en-US" sz="2000">
                  <a:solidFill>
                    <a:srgbClr val="000000"/>
                  </a:solidFill>
                  <a:ea typeface="MS PGothic" charset="0"/>
                </a:endParaRPr>
              </a:p>
            </p:txBody>
          </p:sp>
          <p:sp>
            <p:nvSpPr>
              <p:cNvPr id="61" name="icon  BINARY"/>
              <p:cNvSpPr>
                <a:spLocks noEditPoints="1"/>
              </p:cNvSpPr>
              <p:nvPr/>
            </p:nvSpPr>
            <p:spPr bwMode="auto">
              <a:xfrm>
                <a:off x="4698332" y="4352247"/>
                <a:ext cx="400361" cy="328644"/>
              </a:xfrm>
              <a:custGeom>
                <a:avLst/>
                <a:gdLst>
                  <a:gd name="T0" fmla="*/ 2147483647 w 275"/>
                  <a:gd name="T1" fmla="*/ 2147483647 h 226"/>
                  <a:gd name="T2" fmla="*/ 2147483647 w 275"/>
                  <a:gd name="T3" fmla="*/ 0 h 226"/>
                  <a:gd name="T4" fmla="*/ 2147483647 w 275"/>
                  <a:gd name="T5" fmla="*/ 2147483647 h 226"/>
                  <a:gd name="T6" fmla="*/ 2147483647 w 275"/>
                  <a:gd name="T7" fmla="*/ 2147483647 h 226"/>
                  <a:gd name="T8" fmla="*/ 2147483647 w 275"/>
                  <a:gd name="T9" fmla="*/ 2147483647 h 226"/>
                  <a:gd name="T10" fmla="*/ 2147483647 w 275"/>
                  <a:gd name="T11" fmla="*/ 2147483647 h 226"/>
                  <a:gd name="T12" fmla="*/ 2147483647 w 275"/>
                  <a:gd name="T13" fmla="*/ 2147483647 h 226"/>
                  <a:gd name="T14" fmla="*/ 2147483647 w 275"/>
                  <a:gd name="T15" fmla="*/ 2147483647 h 226"/>
                  <a:gd name="T16" fmla="*/ 2147483647 w 275"/>
                  <a:gd name="T17" fmla="*/ 2147483647 h 226"/>
                  <a:gd name="T18" fmla="*/ 2147483647 w 275"/>
                  <a:gd name="T19" fmla="*/ 2147483647 h 226"/>
                  <a:gd name="T20" fmla="*/ 2147483647 w 275"/>
                  <a:gd name="T21" fmla="*/ 2147483647 h 226"/>
                  <a:gd name="T22" fmla="*/ 2147483647 w 275"/>
                  <a:gd name="T23" fmla="*/ 2147483647 h 226"/>
                  <a:gd name="T24" fmla="*/ 2147483647 w 275"/>
                  <a:gd name="T25" fmla="*/ 2147483647 h 226"/>
                  <a:gd name="T26" fmla="*/ 2147483647 w 275"/>
                  <a:gd name="T27" fmla="*/ 2147483647 h 226"/>
                  <a:gd name="T28" fmla="*/ 2147483647 w 275"/>
                  <a:gd name="T29" fmla="*/ 2147483647 h 226"/>
                  <a:gd name="T30" fmla="*/ 2147483647 w 275"/>
                  <a:gd name="T31" fmla="*/ 2147483647 h 226"/>
                  <a:gd name="T32" fmla="*/ 2147483647 w 275"/>
                  <a:gd name="T33" fmla="*/ 2147483647 h 226"/>
                  <a:gd name="T34" fmla="*/ 2147483647 w 275"/>
                  <a:gd name="T35" fmla="*/ 2147483647 h 226"/>
                  <a:gd name="T36" fmla="*/ 2147483647 w 275"/>
                  <a:gd name="T37" fmla="*/ 2147483647 h 226"/>
                  <a:gd name="T38" fmla="*/ 0 w 275"/>
                  <a:gd name="T39" fmla="*/ 2147483647 h 226"/>
                  <a:gd name="T40" fmla="*/ 2147483647 w 275"/>
                  <a:gd name="T41" fmla="*/ 2147483647 h 226"/>
                  <a:gd name="T42" fmla="*/ 2147483647 w 275"/>
                  <a:gd name="T43" fmla="*/ 2147483647 h 226"/>
                  <a:gd name="T44" fmla="*/ 2147483647 w 275"/>
                  <a:gd name="T45" fmla="*/ 2147483647 h 226"/>
                  <a:gd name="T46" fmla="*/ 2147483647 w 275"/>
                  <a:gd name="T47" fmla="*/ 2147483647 h 226"/>
                  <a:gd name="T48" fmla="*/ 2147483647 w 275"/>
                  <a:gd name="T49" fmla="*/ 2147483647 h 226"/>
                  <a:gd name="T50" fmla="*/ 2147483647 w 275"/>
                  <a:gd name="T51" fmla="*/ 2147483647 h 226"/>
                  <a:gd name="T52" fmla="*/ 2147483647 w 275"/>
                  <a:gd name="T53" fmla="*/ 2147483647 h 226"/>
                  <a:gd name="T54" fmla="*/ 2147483647 w 275"/>
                  <a:gd name="T55" fmla="*/ 2147483647 h 226"/>
                  <a:gd name="T56" fmla="*/ 2147483647 w 275"/>
                  <a:gd name="T57" fmla="*/ 2147483647 h 226"/>
                  <a:gd name="T58" fmla="*/ 2147483647 w 275"/>
                  <a:gd name="T59" fmla="*/ 2147483647 h 226"/>
                  <a:gd name="T60" fmla="*/ 2147483647 w 275"/>
                  <a:gd name="T61" fmla="*/ 2147483647 h 226"/>
                  <a:gd name="T62" fmla="*/ 2147483647 w 275"/>
                  <a:gd name="T63" fmla="*/ 2147483647 h 226"/>
                  <a:gd name="T64" fmla="*/ 2147483647 w 275"/>
                  <a:gd name="T65" fmla="*/ 2147483647 h 226"/>
                  <a:gd name="T66" fmla="*/ 2147483647 w 275"/>
                  <a:gd name="T67" fmla="*/ 2147483647 h 226"/>
                  <a:gd name="T68" fmla="*/ 2147483647 w 275"/>
                  <a:gd name="T69" fmla="*/ 2147483647 h 226"/>
                  <a:gd name="T70" fmla="*/ 2147483647 w 275"/>
                  <a:gd name="T71" fmla="*/ 2147483647 h 226"/>
                  <a:gd name="T72" fmla="*/ 2147483647 w 275"/>
                  <a:gd name="T73" fmla="*/ 2147483647 h 226"/>
                  <a:gd name="T74" fmla="*/ 2147483647 w 275"/>
                  <a:gd name="T75" fmla="*/ 2147483647 h 226"/>
                  <a:gd name="T76" fmla="*/ 2147483647 w 275"/>
                  <a:gd name="T77" fmla="*/ 2147483647 h 226"/>
                  <a:gd name="T78" fmla="*/ 2147483647 w 275"/>
                  <a:gd name="T79" fmla="*/ 2147483647 h 226"/>
                  <a:gd name="T80" fmla="*/ 2147483647 w 275"/>
                  <a:gd name="T81" fmla="*/ 2147483647 h 226"/>
                  <a:gd name="T82" fmla="*/ 2147483647 w 275"/>
                  <a:gd name="T83" fmla="*/ 2147483647 h 226"/>
                  <a:gd name="T84" fmla="*/ 2147483647 w 275"/>
                  <a:gd name="T85" fmla="*/ 2147483647 h 226"/>
                  <a:gd name="T86" fmla="*/ 2147483647 w 275"/>
                  <a:gd name="T87" fmla="*/ 2147483647 h 226"/>
                  <a:gd name="T88" fmla="*/ 2147483647 w 275"/>
                  <a:gd name="T89" fmla="*/ 2147483647 h 226"/>
                  <a:gd name="T90" fmla="*/ 2147483647 w 275"/>
                  <a:gd name="T91" fmla="*/ 2147483647 h 226"/>
                  <a:gd name="T92" fmla="*/ 2147483647 w 275"/>
                  <a:gd name="T93" fmla="*/ 2147483647 h 226"/>
                  <a:gd name="T94" fmla="*/ 2147483647 w 275"/>
                  <a:gd name="T95" fmla="*/ 2147483647 h 226"/>
                  <a:gd name="T96" fmla="*/ 2147483647 w 275"/>
                  <a:gd name="T97" fmla="*/ 2147483647 h 226"/>
                  <a:gd name="T98" fmla="*/ 2147483647 w 275"/>
                  <a:gd name="T99" fmla="*/ 2147483647 h 226"/>
                  <a:gd name="T100" fmla="*/ 2147483647 w 275"/>
                  <a:gd name="T101" fmla="*/ 2147483647 h 226"/>
                  <a:gd name="T102" fmla="*/ 2147483647 w 275"/>
                  <a:gd name="T103" fmla="*/ 2147483647 h 226"/>
                  <a:gd name="T104" fmla="*/ 2147483647 w 275"/>
                  <a:gd name="T105" fmla="*/ 2147483647 h 226"/>
                  <a:gd name="T106" fmla="*/ 2147483647 w 275"/>
                  <a:gd name="T107" fmla="*/ 2147483647 h 226"/>
                  <a:gd name="T108" fmla="*/ 2147483647 w 275"/>
                  <a:gd name="T109" fmla="*/ 2147483647 h 226"/>
                  <a:gd name="T110" fmla="*/ 2147483647 w 275"/>
                  <a:gd name="T111" fmla="*/ 2147483647 h 226"/>
                  <a:gd name="T112" fmla="*/ 2147483647 w 275"/>
                  <a:gd name="T113" fmla="*/ 2147483647 h 226"/>
                  <a:gd name="T114" fmla="*/ 2147483647 w 275"/>
                  <a:gd name="T115" fmla="*/ 2147483647 h 2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bg1">
                  <a:lumMod val="75000"/>
                </a:schemeClr>
              </a:solidFill>
              <a:ln>
                <a:noFill/>
              </a:ln>
              <a:extLst/>
            </p:spPr>
            <p:txBody>
              <a:bodyPr/>
              <a:lstStyle/>
              <a:p>
                <a:pPr defTabSz="931684" fontAlgn="base">
                  <a:spcBef>
                    <a:spcPct val="0"/>
                  </a:spcBef>
                  <a:spcAft>
                    <a:spcPct val="0"/>
                  </a:spcAft>
                </a:pPr>
                <a:endParaRPr lang="en-US" sz="2000">
                  <a:solidFill>
                    <a:srgbClr val="0072C6"/>
                  </a:solidFill>
                  <a:ea typeface="MS PGothic" charset="0"/>
                </a:endParaRPr>
              </a:p>
            </p:txBody>
          </p:sp>
        </p:grpSp>
        <p:sp>
          <p:nvSpPr>
            <p:cNvPr id="35" name="Freeform 48"/>
            <p:cNvSpPr>
              <a:spLocks/>
            </p:cNvSpPr>
            <p:nvPr/>
          </p:nvSpPr>
          <p:spPr bwMode="black">
            <a:xfrm>
              <a:off x="6531789" y="2933455"/>
              <a:ext cx="530677" cy="45317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1684" fontAlgn="base">
                <a:spcBef>
                  <a:spcPct val="0"/>
                </a:spcBef>
                <a:spcAft>
                  <a:spcPct val="0"/>
                </a:spcAft>
              </a:pPr>
              <a:endParaRPr lang="en-US" sz="2400">
                <a:solidFill>
                  <a:srgbClr val="000000"/>
                </a:solidFill>
                <a:ea typeface="MS PGothic" charset="0"/>
              </a:endParaRPr>
            </a:p>
          </p:txBody>
        </p:sp>
        <p:sp>
          <p:nvSpPr>
            <p:cNvPr id="38" name="Rectangle 37"/>
            <p:cNvSpPr/>
            <p:nvPr/>
          </p:nvSpPr>
          <p:spPr>
            <a:xfrm>
              <a:off x="4838227" y="2459444"/>
              <a:ext cx="1148819" cy="489497"/>
            </a:xfrm>
            <a:prstGeom prst="rect">
              <a:avLst/>
            </a:prstGeom>
          </p:spPr>
          <p:txBody>
            <a:bodyPr wrap="square">
              <a:spAutoFit/>
            </a:bodyPr>
            <a:lstStyle/>
            <a:p>
              <a:pPr defTabSz="931684" fontAlgn="base">
                <a:lnSpc>
                  <a:spcPct val="90000"/>
                </a:lnSpc>
                <a:spcBef>
                  <a:spcPct val="0"/>
                </a:spcBef>
                <a:defRPr/>
              </a:pPr>
              <a:r>
                <a:rPr lang="en-US" sz="1399" dirty="0">
                  <a:solidFill>
                    <a:srgbClr val="FFFFFF"/>
                  </a:solidFill>
                  <a:ea typeface="MS PGothic" panose="020B0600070205080204" pitchFamily="34" charset="-128"/>
                </a:rPr>
                <a:t>Transform</a:t>
              </a:r>
            </a:p>
            <a:p>
              <a:pPr defTabSz="931684" fontAlgn="base">
                <a:lnSpc>
                  <a:spcPct val="90000"/>
                </a:lnSpc>
                <a:spcBef>
                  <a:spcPct val="0"/>
                </a:spcBef>
                <a:defRPr/>
              </a:pPr>
              <a:r>
                <a:rPr lang="en-US" sz="1399" dirty="0">
                  <a:solidFill>
                    <a:srgbClr val="FFFFFF"/>
                  </a:solidFill>
                  <a:ea typeface="MS PGothic" panose="020B0600070205080204" pitchFamily="34" charset="-128"/>
                </a:rPr>
                <a:t>+ analyze</a:t>
              </a:r>
            </a:p>
          </p:txBody>
        </p:sp>
        <p:sp>
          <p:nvSpPr>
            <p:cNvPr id="44" name="Rectangle 43"/>
            <p:cNvSpPr/>
            <p:nvPr/>
          </p:nvSpPr>
          <p:spPr>
            <a:xfrm>
              <a:off x="6280210" y="3518129"/>
              <a:ext cx="1148819" cy="489497"/>
            </a:xfrm>
            <a:prstGeom prst="rect">
              <a:avLst/>
            </a:prstGeom>
          </p:spPr>
          <p:txBody>
            <a:bodyPr wrap="square">
              <a:spAutoFit/>
            </a:bodyPr>
            <a:lstStyle/>
            <a:p>
              <a:pPr algn="r" defTabSz="931684" fontAlgn="base">
                <a:lnSpc>
                  <a:spcPct val="90000"/>
                </a:lnSpc>
                <a:spcBef>
                  <a:spcPct val="0"/>
                </a:spcBef>
                <a:defRPr/>
              </a:pPr>
              <a:r>
                <a:rPr lang="en-US" sz="1399" dirty="0">
                  <a:solidFill>
                    <a:srgbClr val="FFFFFF"/>
                  </a:solidFill>
                  <a:ea typeface="MS PGothic" panose="020B0600070205080204" pitchFamily="34" charset="-128"/>
                </a:rPr>
                <a:t>Visualize</a:t>
              </a:r>
            </a:p>
            <a:p>
              <a:pPr algn="r" defTabSz="931684" fontAlgn="base">
                <a:lnSpc>
                  <a:spcPct val="90000"/>
                </a:lnSpc>
                <a:spcBef>
                  <a:spcPct val="0"/>
                </a:spcBef>
                <a:defRPr/>
              </a:pPr>
              <a:r>
                <a:rPr lang="en-US" sz="1399" dirty="0">
                  <a:solidFill>
                    <a:srgbClr val="FFFFFF"/>
                  </a:solidFill>
                  <a:ea typeface="MS PGothic" panose="020B0600070205080204" pitchFamily="34" charset="-128"/>
                </a:rPr>
                <a:t>+ decide</a:t>
              </a:r>
            </a:p>
          </p:txBody>
        </p:sp>
        <p:sp>
          <p:nvSpPr>
            <p:cNvPr id="47" name="Rectangle 46"/>
            <p:cNvSpPr/>
            <p:nvPr/>
          </p:nvSpPr>
          <p:spPr>
            <a:xfrm>
              <a:off x="5722104" y="4723525"/>
              <a:ext cx="1148819" cy="489497"/>
            </a:xfrm>
            <a:prstGeom prst="rect">
              <a:avLst/>
            </a:prstGeom>
          </p:spPr>
          <p:txBody>
            <a:bodyPr wrap="square">
              <a:spAutoFit/>
            </a:bodyPr>
            <a:lstStyle/>
            <a:p>
              <a:pPr defTabSz="931684" fontAlgn="base">
                <a:lnSpc>
                  <a:spcPct val="90000"/>
                </a:lnSpc>
                <a:spcBef>
                  <a:spcPct val="0"/>
                </a:spcBef>
                <a:defRPr/>
              </a:pPr>
              <a:r>
                <a:rPr lang="en-US" sz="1399" dirty="0">
                  <a:solidFill>
                    <a:srgbClr val="FFFFFF"/>
                  </a:solidFill>
                  <a:ea typeface="MS PGothic" panose="020B0600070205080204" pitchFamily="34" charset="-128"/>
                </a:rPr>
                <a:t>Collect </a:t>
              </a:r>
              <a:br>
                <a:rPr lang="en-US" sz="1399" dirty="0">
                  <a:solidFill>
                    <a:srgbClr val="FFFFFF"/>
                  </a:solidFill>
                  <a:ea typeface="MS PGothic" panose="020B0600070205080204" pitchFamily="34" charset="-128"/>
                </a:rPr>
              </a:br>
              <a:r>
                <a:rPr lang="en-US" sz="1399" dirty="0">
                  <a:solidFill>
                    <a:srgbClr val="FFFFFF"/>
                  </a:solidFill>
                  <a:ea typeface="MS PGothic" panose="020B0600070205080204" pitchFamily="34" charset="-128"/>
                </a:rPr>
                <a:t>+ manage</a:t>
              </a:r>
            </a:p>
          </p:txBody>
        </p:sp>
        <p:sp>
          <p:nvSpPr>
            <p:cNvPr id="49" name="Oval 48"/>
            <p:cNvSpPr/>
            <p:nvPr/>
          </p:nvSpPr>
          <p:spPr bwMode="auto">
            <a:xfrm>
              <a:off x="4993075" y="3042252"/>
              <a:ext cx="1598492" cy="1598492"/>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nvGrpSpPr>
            <p:cNvPr id="50" name="Group 49"/>
            <p:cNvGrpSpPr/>
            <p:nvPr/>
          </p:nvGrpSpPr>
          <p:grpSpPr>
            <a:xfrm>
              <a:off x="5178258" y="3148916"/>
              <a:ext cx="1238035" cy="1398173"/>
              <a:chOff x="5005641" y="3539385"/>
              <a:chExt cx="1221568" cy="1379577"/>
            </a:xfrm>
          </p:grpSpPr>
          <p:sp>
            <p:nvSpPr>
              <p:cNvPr id="58" name="Isosceles Triangle 60"/>
              <p:cNvSpPr/>
              <p:nvPr/>
            </p:nvSpPr>
            <p:spPr bwMode="auto">
              <a:xfrm rot="16200000">
                <a:off x="4926636" y="3618390"/>
                <a:ext cx="1379577" cy="1221568"/>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B8B1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b="1" dirty="0">
                  <a:solidFill>
                    <a:srgbClr val="FFFFFF"/>
                  </a:solidFill>
                  <a:latin typeface="Segoe UI Light"/>
                  <a:ea typeface="Segoe UI" pitchFamily="34" charset="0"/>
                  <a:cs typeface="Segoe UI" pitchFamily="34" charset="0"/>
                </a:endParaRPr>
              </a:p>
            </p:txBody>
          </p:sp>
          <p:sp>
            <p:nvSpPr>
              <p:cNvPr id="59" name="TextBox 58"/>
              <p:cNvSpPr txBox="1"/>
              <p:nvPr/>
            </p:nvSpPr>
            <p:spPr>
              <a:xfrm>
                <a:off x="5179557" y="4089377"/>
                <a:ext cx="867328" cy="319067"/>
              </a:xfrm>
              <a:prstGeom prst="rect">
                <a:avLst/>
              </a:prstGeom>
              <a:noFill/>
            </p:spPr>
            <p:txBody>
              <a:bodyPr lIns="182854" tIns="146283" rIns="182854" bIns="146283" anchor="ctr"/>
              <a:lstStyle/>
              <a:p>
                <a:pPr algn="ctr" defTabSz="931684" fontAlgn="base">
                  <a:lnSpc>
                    <a:spcPct val="90000"/>
                  </a:lnSpc>
                  <a:spcBef>
                    <a:spcPct val="0"/>
                  </a:spcBef>
                  <a:defRPr/>
                </a:pPr>
                <a:r>
                  <a:rPr lang="en-US" sz="2000" dirty="0">
                    <a:latin typeface="Segoe UI Light"/>
                    <a:ea typeface="MS PGothic" panose="020B0600070205080204" pitchFamily="34" charset="-128"/>
                  </a:rPr>
                  <a:t>Data</a:t>
                </a:r>
              </a:p>
            </p:txBody>
          </p:sp>
        </p:grpSp>
      </p:grpSp>
      <p:pic>
        <p:nvPicPr>
          <p:cNvPr id="63" name="Picture 62"/>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7119126" y="3855397"/>
            <a:ext cx="5316467" cy="3138632"/>
          </a:xfrm>
          <a:prstGeom prst="rect">
            <a:avLst/>
          </a:prstGeom>
          <a:effectLst>
            <a:outerShdw dir="16200000" rotWithShape="0">
              <a:prstClr val="black">
                <a:alpha val="30000"/>
              </a:prstClr>
            </a:outerShdw>
          </a:effectLst>
        </p:spPr>
      </p:pic>
    </p:spTree>
    <p:extLst>
      <p:ext uri="{BB962C8B-B14F-4D97-AF65-F5344CB8AC3E}">
        <p14:creationId xmlns:p14="http://schemas.microsoft.com/office/powerpoint/2010/main" val="342350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 calcmode="lin" valueType="num">
                                      <p:cBhvr additive="base">
                                        <p:cTn id="10" dur="500" fill="hold"/>
                                        <p:tgtEl>
                                          <p:spTgt spid="25"/>
                                        </p:tgtEl>
                                        <p:attrNameLst>
                                          <p:attrName>ppt_x</p:attrName>
                                        </p:attrNameLst>
                                      </p:cBhvr>
                                      <p:tavLst>
                                        <p:tav tm="0">
                                          <p:val>
                                            <p:strVal val="1+#ppt_w/2"/>
                                          </p:val>
                                        </p:tav>
                                        <p:tav tm="100000">
                                          <p:val>
                                            <p:strVal val="#ppt_x"/>
                                          </p:val>
                                        </p:tav>
                                      </p:tavLst>
                                    </p:anim>
                                    <p:anim calcmode="lin" valueType="num">
                                      <p:cBhvr additive="base">
                                        <p:cTn id="11" dur="500" fill="hold"/>
                                        <p:tgtEl>
                                          <p:spTgt spid="25"/>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250"/>
                                  </p:stCondLst>
                                  <p:childTnLst>
                                    <p:set>
                                      <p:cBhvr>
                                        <p:cTn id="13" dur="1" fill="hold">
                                          <p:stCondLst>
                                            <p:cond delay="0"/>
                                          </p:stCondLst>
                                        </p:cTn>
                                        <p:tgtEl>
                                          <p:spTgt spid="26"/>
                                        </p:tgtEl>
                                        <p:attrNameLst>
                                          <p:attrName>style.visibility</p:attrName>
                                        </p:attrNameLst>
                                      </p:cBhvr>
                                      <p:to>
                                        <p:strVal val="visible"/>
                                      </p:to>
                                    </p:set>
                                    <p:anim calcmode="lin" valueType="num">
                                      <p:cBhvr additive="base">
                                        <p:cTn id="14" dur="500" fill="hold"/>
                                        <p:tgtEl>
                                          <p:spTgt spid="26"/>
                                        </p:tgtEl>
                                        <p:attrNameLst>
                                          <p:attrName>ppt_x</p:attrName>
                                        </p:attrNameLst>
                                      </p:cBhvr>
                                      <p:tavLst>
                                        <p:tav tm="0">
                                          <p:val>
                                            <p:strVal val="1+#ppt_w/2"/>
                                          </p:val>
                                        </p:tav>
                                        <p:tav tm="100000">
                                          <p:val>
                                            <p:strVal val="#ppt_x"/>
                                          </p:val>
                                        </p:tav>
                                      </p:tavLst>
                                    </p:anim>
                                    <p:anim calcmode="lin" valueType="num">
                                      <p:cBhvr additive="base">
                                        <p:cTn id="15" dur="500" fill="hold"/>
                                        <p:tgtEl>
                                          <p:spTgt spid="26"/>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500"/>
                                  </p:stCondLst>
                                  <p:childTnLst>
                                    <p:set>
                                      <p:cBhvr>
                                        <p:cTn id="17" dur="1" fill="hold">
                                          <p:stCondLst>
                                            <p:cond delay="0"/>
                                          </p:stCondLst>
                                        </p:cTn>
                                        <p:tgtEl>
                                          <p:spTgt spid="27"/>
                                        </p:tgtEl>
                                        <p:attrNameLst>
                                          <p:attrName>style.visibility</p:attrName>
                                        </p:attrNameLst>
                                      </p:cBhvr>
                                      <p:to>
                                        <p:strVal val="visible"/>
                                      </p:to>
                                    </p:set>
                                    <p:anim calcmode="lin" valueType="num">
                                      <p:cBhvr additive="base">
                                        <p:cTn id="18" dur="500" fill="hold"/>
                                        <p:tgtEl>
                                          <p:spTgt spid="27"/>
                                        </p:tgtEl>
                                        <p:attrNameLst>
                                          <p:attrName>ppt_x</p:attrName>
                                        </p:attrNameLst>
                                      </p:cBhvr>
                                      <p:tavLst>
                                        <p:tav tm="0">
                                          <p:val>
                                            <p:strVal val="1+#ppt_w/2"/>
                                          </p:val>
                                        </p:tav>
                                        <p:tav tm="100000">
                                          <p:val>
                                            <p:strVal val="#ppt_x"/>
                                          </p:val>
                                        </p:tav>
                                      </p:tavLst>
                                    </p:anim>
                                    <p:anim calcmode="lin" valueType="num">
                                      <p:cBhvr additive="base">
                                        <p:cTn id="19"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Visualize &amp; </a:t>
            </a:r>
            <a:r>
              <a:rPr lang="en-US" dirty="0"/>
              <a:t>d</a:t>
            </a:r>
            <a:r>
              <a:rPr lang="en-US" dirty="0" smtClean="0"/>
              <a:t>ecide</a:t>
            </a:r>
            <a:br>
              <a:rPr lang="en-US" dirty="0" smtClean="0"/>
            </a:br>
            <a:endParaRPr lang="en-US" dirty="0"/>
          </a:p>
        </p:txBody>
      </p:sp>
      <p:grpSp>
        <p:nvGrpSpPr>
          <p:cNvPr id="4" name="Group 3"/>
          <p:cNvGrpSpPr/>
          <p:nvPr/>
        </p:nvGrpSpPr>
        <p:grpSpPr>
          <a:xfrm>
            <a:off x="494900" y="1453892"/>
            <a:ext cx="4740040" cy="4558921"/>
            <a:chOff x="494900" y="1453892"/>
            <a:chExt cx="4740040" cy="4558921"/>
          </a:xfrm>
        </p:grpSpPr>
        <p:sp>
          <p:nvSpPr>
            <p:cNvPr id="45" name="Rectangle 44"/>
            <p:cNvSpPr/>
            <p:nvPr/>
          </p:nvSpPr>
          <p:spPr bwMode="auto">
            <a:xfrm>
              <a:off x="494900" y="1453892"/>
              <a:ext cx="4740040" cy="625056"/>
            </a:xfrm>
            <a:prstGeom prst="rect">
              <a:avLst/>
            </a:prstGeom>
            <a:solidFill>
              <a:srgbClr val="7FBA00"/>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Analyze in Excel</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7" name="Rectangle 36"/>
            <p:cNvSpPr/>
            <p:nvPr/>
          </p:nvSpPr>
          <p:spPr bwMode="auto">
            <a:xfrm>
              <a:off x="494900" y="3490404"/>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Analyze</a:t>
              </a:r>
            </a:p>
          </p:txBody>
        </p:sp>
        <p:grpSp>
          <p:nvGrpSpPr>
            <p:cNvPr id="30" name="Group 29"/>
            <p:cNvGrpSpPr/>
            <p:nvPr/>
          </p:nvGrpSpPr>
          <p:grpSpPr>
            <a:xfrm flipH="1">
              <a:off x="873252" y="3933889"/>
              <a:ext cx="529777" cy="733737"/>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solidFill>
                    <a:srgbClr val="505050"/>
                  </a:solidFill>
                </a:endParaRPr>
              </a:p>
            </p:txBody>
          </p:sp>
        </p:grpSp>
        <p:sp>
          <p:nvSpPr>
            <p:cNvPr id="44" name="Rectangle 43"/>
            <p:cNvSpPr/>
            <p:nvPr/>
          </p:nvSpPr>
          <p:spPr bwMode="auto">
            <a:xfrm>
              <a:off x="494900" y="4824093"/>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Visualize</a:t>
              </a:r>
            </a:p>
          </p:txBody>
        </p:sp>
        <p:sp>
          <p:nvSpPr>
            <p:cNvPr id="34" name="Freeform 33"/>
            <p:cNvSpPr/>
            <p:nvPr>
              <p:custDataLst>
                <p:tags r:id="rId2"/>
              </p:custDataLst>
            </p:nvPr>
          </p:nvSpPr>
          <p:spPr>
            <a:xfrm>
              <a:off x="829232" y="5259039"/>
              <a:ext cx="696431" cy="701937"/>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tx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71" name="Rectangle 70"/>
            <p:cNvSpPr/>
            <p:nvPr/>
          </p:nvSpPr>
          <p:spPr bwMode="auto">
            <a:xfrm>
              <a:off x="494900" y="2190316"/>
              <a:ext cx="1188720" cy="1188720"/>
            </a:xfrm>
            <a:prstGeom prst="rect">
              <a:avLst/>
            </a:prstGeom>
            <a:solidFill>
              <a:srgbClr val="7FBA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kern="0" dirty="0" smtClean="0">
                  <a:solidFill>
                    <a:srgbClr val="FFFFFF"/>
                  </a:solidFill>
                  <a:ea typeface="Segoe UI" pitchFamily="34" charset="0"/>
                  <a:cs typeface="Segoe UI" pitchFamily="34" charset="0"/>
                </a:rPr>
                <a:t>Discover</a:t>
              </a:r>
              <a:endParaRPr lang="en-US" kern="0" dirty="0">
                <a:solidFill>
                  <a:srgbClr val="FFFFFF"/>
                </a:solidFill>
                <a:ea typeface="Segoe UI" pitchFamily="34" charset="0"/>
                <a:cs typeface="Segoe UI" pitchFamily="34" charset="0"/>
              </a:endParaRPr>
            </a:p>
          </p:txBody>
        </p:sp>
        <p:sp>
          <p:nvSpPr>
            <p:cNvPr id="62" name="Freeform 8"/>
            <p:cNvSpPr>
              <a:spLocks noEditPoints="1"/>
            </p:cNvSpPr>
            <p:nvPr/>
          </p:nvSpPr>
          <p:spPr bwMode="black">
            <a:xfrm>
              <a:off x="786405" y="2600558"/>
              <a:ext cx="732520" cy="73232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1810430" y="2204724"/>
              <a:ext cx="3424510" cy="1174312"/>
            </a:xfrm>
            <a:prstGeom prst="rect">
              <a:avLst/>
            </a:prstGeom>
            <a:solidFill>
              <a:schemeClr val="accent1">
                <a:lumMod val="75000"/>
              </a:schemeClr>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dirty="0">
                  <a:solidFill>
                    <a:srgbClr val="FFFFFF"/>
                  </a:solidFill>
                </a:rPr>
                <a:t>Search, access, and transform public and internal data sources with </a:t>
              </a:r>
              <a:r>
                <a:rPr lang="en-US" b="1" dirty="0">
                  <a:solidFill>
                    <a:srgbClr val="FFFFFF"/>
                  </a:solidFill>
                </a:rPr>
                <a:t>Power </a:t>
              </a:r>
              <a:r>
                <a:rPr lang="en-US" b="1" dirty="0" smtClean="0">
                  <a:solidFill>
                    <a:srgbClr val="FFFFFF"/>
                  </a:solidFill>
                </a:rPr>
                <a:t>Query</a:t>
              </a:r>
              <a:endParaRPr lang="en-US" kern="0" dirty="0">
                <a:solidFill>
                  <a:srgbClr val="FFFFFF"/>
                </a:solidFill>
                <a:ea typeface="Segoe UI" pitchFamily="34" charset="0"/>
                <a:cs typeface="Segoe UI" pitchFamily="34" charset="0"/>
              </a:endParaRPr>
            </a:p>
          </p:txBody>
        </p:sp>
        <p:sp>
          <p:nvSpPr>
            <p:cNvPr id="40" name="Rectangle 39"/>
            <p:cNvSpPr/>
            <p:nvPr/>
          </p:nvSpPr>
          <p:spPr bwMode="auto">
            <a:xfrm>
              <a:off x="1810430" y="3507061"/>
              <a:ext cx="3424510" cy="1174312"/>
            </a:xfrm>
            <a:prstGeom prst="rect">
              <a:avLst/>
            </a:prstGeom>
            <a:solidFill>
              <a:schemeClr val="accent1">
                <a:lumMod val="75000"/>
              </a:schemeClr>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Easy data modeling and lightning fast in-memory analytics with </a:t>
              </a:r>
              <a:r>
                <a:rPr lang="en-US" b="1" dirty="0">
                  <a:solidFill>
                    <a:srgbClr val="FFFFFF"/>
                  </a:solidFill>
                </a:rPr>
                <a:t>Power Pivot</a:t>
              </a:r>
            </a:p>
          </p:txBody>
        </p:sp>
        <p:sp>
          <p:nvSpPr>
            <p:cNvPr id="41" name="Rectangle 40"/>
            <p:cNvSpPr/>
            <p:nvPr/>
          </p:nvSpPr>
          <p:spPr bwMode="auto">
            <a:xfrm>
              <a:off x="1810430" y="4819285"/>
              <a:ext cx="3424510" cy="1174312"/>
            </a:xfrm>
            <a:prstGeom prst="rect">
              <a:avLst/>
            </a:prstGeom>
            <a:solidFill>
              <a:schemeClr val="accent1">
                <a:lumMod val="75000"/>
              </a:schemeClr>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Bold new interactive data visualizations with </a:t>
              </a:r>
              <a:r>
                <a:rPr lang="en-US" b="1" dirty="0">
                  <a:solidFill>
                    <a:srgbClr val="FFFFFF"/>
                  </a:solidFill>
                </a:rPr>
                <a:t>Power View </a:t>
              </a:r>
              <a:r>
                <a:rPr lang="en-US" dirty="0">
                  <a:solidFill>
                    <a:srgbClr val="FFFFFF"/>
                  </a:solidFill>
                </a:rPr>
                <a:t>and </a:t>
              </a:r>
              <a:r>
                <a:rPr lang="en-US" b="1" dirty="0">
                  <a:solidFill>
                    <a:srgbClr val="FFFFFF"/>
                  </a:solidFill>
                </a:rPr>
                <a:t>Power Map</a:t>
              </a:r>
            </a:p>
          </p:txBody>
        </p:sp>
      </p:grpSp>
      <p:grpSp>
        <p:nvGrpSpPr>
          <p:cNvPr id="5" name="Group 4"/>
          <p:cNvGrpSpPr/>
          <p:nvPr/>
        </p:nvGrpSpPr>
        <p:grpSpPr>
          <a:xfrm>
            <a:off x="7214627" y="1453892"/>
            <a:ext cx="4743871" cy="4519823"/>
            <a:chOff x="7214627" y="1453892"/>
            <a:chExt cx="4743871" cy="4519823"/>
          </a:xfrm>
        </p:grpSpPr>
        <p:sp>
          <p:nvSpPr>
            <p:cNvPr id="43" name="Rectangle 42"/>
            <p:cNvSpPr/>
            <p:nvPr/>
          </p:nvSpPr>
          <p:spPr bwMode="auto">
            <a:xfrm>
              <a:off x="7220582" y="1453892"/>
              <a:ext cx="4737916" cy="596880"/>
            </a:xfrm>
            <a:prstGeom prst="rect">
              <a:avLst/>
            </a:prstGeom>
            <a:solidFill>
              <a:srgbClr val="FB8B1F"/>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Collaborate in Office 365</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7" name="Rectangle 46"/>
            <p:cNvSpPr/>
            <p:nvPr/>
          </p:nvSpPr>
          <p:spPr bwMode="auto">
            <a:xfrm>
              <a:off x="7220582" y="2201344"/>
              <a:ext cx="1188720" cy="1188720"/>
            </a:xfrm>
            <a:prstGeom prst="rect">
              <a:avLst/>
            </a:prstGeom>
            <a:solidFill>
              <a:srgbClr val="FB8B1F"/>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Share</a:t>
              </a:r>
            </a:p>
          </p:txBody>
        </p:sp>
        <p:sp>
          <p:nvSpPr>
            <p:cNvPr id="35" name="Freeform 34"/>
            <p:cNvSpPr>
              <a:spLocks/>
            </p:cNvSpPr>
            <p:nvPr/>
          </p:nvSpPr>
          <p:spPr bwMode="auto">
            <a:xfrm>
              <a:off x="7487539" y="2679507"/>
              <a:ext cx="847173" cy="590771"/>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solidFill>
                  <a:srgbClr val="505050"/>
                </a:solidFill>
              </a:endParaRPr>
            </a:p>
          </p:txBody>
        </p:sp>
        <p:sp>
          <p:nvSpPr>
            <p:cNvPr id="48" name="Rectangle 47"/>
            <p:cNvSpPr/>
            <p:nvPr/>
          </p:nvSpPr>
          <p:spPr bwMode="auto">
            <a:xfrm>
              <a:off x="7214627" y="3497862"/>
              <a:ext cx="1188720" cy="1188720"/>
            </a:xfrm>
            <a:prstGeom prst="rect">
              <a:avLst/>
            </a:prstGeom>
            <a:solidFill>
              <a:srgbClr val="FB8B1F"/>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Question</a:t>
              </a:r>
              <a:endParaRPr lang="en-US" kern="0" dirty="0">
                <a:solidFill>
                  <a:srgbClr val="FFFFFF"/>
                </a:solidFill>
                <a:ea typeface="Segoe UI" pitchFamily="34" charset="0"/>
                <a:cs typeface="Segoe UI" pitchFamily="34" charset="0"/>
              </a:endParaRPr>
            </a:p>
          </p:txBody>
        </p:sp>
        <p:grpSp>
          <p:nvGrpSpPr>
            <p:cNvPr id="12" name="Group 11"/>
            <p:cNvGrpSpPr/>
            <p:nvPr/>
          </p:nvGrpSpPr>
          <p:grpSpPr>
            <a:xfrm>
              <a:off x="7488598" y="3967951"/>
              <a:ext cx="806431" cy="694939"/>
              <a:chOff x="8783963" y="4448677"/>
              <a:chExt cx="735026" cy="633406"/>
            </a:xfrm>
          </p:grpSpPr>
          <p:grpSp>
            <p:nvGrpSpPr>
              <p:cNvPr id="42" name="Group 41"/>
              <p:cNvGrpSpPr/>
              <p:nvPr/>
            </p:nvGrpSpPr>
            <p:grpSpPr bwMode="black">
              <a:xfrm>
                <a:off x="8783963" y="4448677"/>
                <a:ext cx="735022" cy="633406"/>
                <a:chOff x="5574622" y="922419"/>
                <a:chExt cx="576936" cy="497307"/>
              </a:xfrm>
            </p:grpSpPr>
            <p:sp>
              <p:nvSpPr>
                <p:cNvPr id="52" name="Rectangle 51"/>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sp>
              <p:nvSpPr>
                <p:cNvPr id="53"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grpSp>
          <p:sp>
            <p:nvSpPr>
              <p:cNvPr id="46" name="TextBox 45"/>
              <p:cNvSpPr txBox="1"/>
              <p:nvPr/>
            </p:nvSpPr>
            <p:spPr bwMode="black">
              <a:xfrm>
                <a:off x="8897555" y="4538634"/>
                <a:ext cx="621434" cy="266499"/>
              </a:xfrm>
              <a:prstGeom prst="rect">
                <a:avLst/>
              </a:prstGeom>
              <a:noFill/>
            </p:spPr>
            <p:txBody>
              <a:bodyPr wrap="square" lIns="0" tIns="0" rIns="0" bIns="0" rtlCol="0">
                <a:spAutoFit/>
              </a:bodyPr>
              <a:lstStyle/>
              <a:p>
                <a:r>
                  <a:rPr lang="en-US" sz="1900" b="1" dirty="0" smtClean="0">
                    <a:solidFill>
                      <a:srgbClr val="FF8C00"/>
                    </a:solidFill>
                  </a:rPr>
                  <a:t>Q</a:t>
                </a:r>
                <a:r>
                  <a:rPr lang="en-US" sz="1900" dirty="0" smtClean="0">
                    <a:solidFill>
                      <a:srgbClr val="FF8C00"/>
                    </a:solidFill>
                  </a:rPr>
                  <a:t>&amp;</a:t>
                </a:r>
                <a:r>
                  <a:rPr lang="en-US" sz="1900" b="1" dirty="0" smtClean="0">
                    <a:solidFill>
                      <a:srgbClr val="FF8C00"/>
                    </a:solidFill>
                  </a:rPr>
                  <a:t>A</a:t>
                </a:r>
                <a:endParaRPr lang="en-US" sz="1900" spc="-135" dirty="0">
                  <a:solidFill>
                    <a:srgbClr val="FF8C00"/>
                  </a:solidFill>
                  <a:latin typeface="Arial Black" pitchFamily="34" charset="0"/>
                  <a:cs typeface="Arial" pitchFamily="34" charset="0"/>
                </a:endParaRPr>
              </a:p>
            </p:txBody>
          </p:sp>
        </p:grpSp>
        <p:sp>
          <p:nvSpPr>
            <p:cNvPr id="49" name="Rectangle 48"/>
            <p:cNvSpPr/>
            <p:nvPr/>
          </p:nvSpPr>
          <p:spPr bwMode="auto">
            <a:xfrm>
              <a:off x="7214627" y="4784995"/>
              <a:ext cx="1188720" cy="1188720"/>
            </a:xfrm>
            <a:prstGeom prst="rect">
              <a:avLst/>
            </a:prstGeom>
            <a:solidFill>
              <a:srgbClr val="FB8B1F"/>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Mobility</a:t>
              </a:r>
              <a:endParaRPr lang="en-US" kern="0" dirty="0">
                <a:solidFill>
                  <a:srgbClr val="FFFFFF"/>
                </a:solidFill>
                <a:ea typeface="Segoe UI" pitchFamily="34" charset="0"/>
                <a:cs typeface="Segoe UI" pitchFamily="34" charset="0"/>
              </a:endParaRPr>
            </a:p>
          </p:txBody>
        </p:sp>
        <p:grpSp>
          <p:nvGrpSpPr>
            <p:cNvPr id="14" name="Group 13"/>
            <p:cNvGrpSpPr/>
            <p:nvPr/>
          </p:nvGrpSpPr>
          <p:grpSpPr>
            <a:xfrm>
              <a:off x="7492538" y="5217702"/>
              <a:ext cx="728879" cy="719102"/>
              <a:chOff x="10280016" y="4544833"/>
              <a:chExt cx="728879" cy="719102"/>
            </a:xfrm>
          </p:grpSpPr>
          <p:grpSp>
            <p:nvGrpSpPr>
              <p:cNvPr id="58" name="Group 57"/>
              <p:cNvGrpSpPr/>
              <p:nvPr/>
            </p:nvGrpSpPr>
            <p:grpSpPr bwMode="black">
              <a:xfrm>
                <a:off x="10280016" y="4544833"/>
                <a:ext cx="728879" cy="719102"/>
                <a:chOff x="2916435" y="3914152"/>
                <a:chExt cx="930763" cy="918513"/>
              </a:xfrm>
            </p:grpSpPr>
            <p:pic>
              <p:nvPicPr>
                <p:cNvPr id="59" name="Picture 5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61" name="Freeform 60"/>
              <p:cNvSpPr/>
              <p:nvPr>
                <p:custDataLst>
                  <p:tags r:id="rId1"/>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tx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grpSp>
        <p:sp>
          <p:nvSpPr>
            <p:cNvPr id="39" name="Rectangle 38"/>
            <p:cNvSpPr/>
            <p:nvPr/>
          </p:nvSpPr>
          <p:spPr bwMode="auto">
            <a:xfrm>
              <a:off x="8533988" y="2205052"/>
              <a:ext cx="3424510" cy="1173984"/>
            </a:xfrm>
            <a:prstGeom prst="rect">
              <a:avLst/>
            </a:prstGeom>
            <a:solidFill>
              <a:schemeClr val="accent1">
                <a:lumMod val="75000"/>
              </a:schemeClr>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Share </a:t>
              </a:r>
              <a:r>
                <a:rPr lang="en-US" dirty="0" smtClean="0">
                  <a:solidFill>
                    <a:srgbClr val="FFFFFF"/>
                  </a:solidFill>
                </a:rPr>
                <a:t>data views and workbooks refreshable </a:t>
              </a:r>
              <a:r>
                <a:rPr lang="en-US" dirty="0">
                  <a:solidFill>
                    <a:srgbClr val="FFFFFF"/>
                  </a:solidFill>
                </a:rPr>
                <a:t>from </a:t>
              </a:r>
              <a:r>
                <a:rPr lang="en-US" dirty="0" smtClean="0">
                  <a:solidFill>
                    <a:srgbClr val="FFFFFF"/>
                  </a:solidFill>
                </a:rPr>
                <a:t>on-premises </a:t>
              </a:r>
              <a:r>
                <a:rPr lang="en-US" dirty="0">
                  <a:solidFill>
                    <a:srgbClr val="FFFFFF"/>
                  </a:solidFill>
                </a:rPr>
                <a:t>and cloud based data sources, with </a:t>
              </a:r>
              <a:r>
                <a:rPr lang="en-US" b="1" dirty="0">
                  <a:solidFill>
                    <a:srgbClr val="FFFFFF"/>
                  </a:solidFill>
                </a:rPr>
                <a:t>Power BI </a:t>
              </a:r>
              <a:r>
                <a:rPr lang="en-US" b="1" dirty="0" smtClean="0">
                  <a:solidFill>
                    <a:srgbClr val="FFFFFF"/>
                  </a:solidFill>
                </a:rPr>
                <a:t>Sites</a:t>
              </a:r>
              <a:endParaRPr lang="en-US" b="1" kern="0" dirty="0">
                <a:solidFill>
                  <a:srgbClr val="FFFFFF"/>
                </a:solidFill>
                <a:ea typeface="Segoe UI" pitchFamily="34" charset="0"/>
                <a:cs typeface="Segoe UI" pitchFamily="34" charset="0"/>
              </a:endParaRPr>
            </a:p>
          </p:txBody>
        </p:sp>
        <p:sp>
          <p:nvSpPr>
            <p:cNvPr id="50" name="Rectangle 49"/>
            <p:cNvSpPr/>
            <p:nvPr/>
          </p:nvSpPr>
          <p:spPr bwMode="auto">
            <a:xfrm>
              <a:off x="8533988" y="3497772"/>
              <a:ext cx="3424510" cy="1173984"/>
            </a:xfrm>
            <a:prstGeom prst="rect">
              <a:avLst/>
            </a:prstGeom>
            <a:solidFill>
              <a:schemeClr val="accent1">
                <a:lumMod val="75000"/>
              </a:schemeClr>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Ask questions and get immediate answers with natural language query</a:t>
              </a:r>
            </a:p>
          </p:txBody>
        </p:sp>
        <p:sp>
          <p:nvSpPr>
            <p:cNvPr id="51" name="Rectangle 50"/>
            <p:cNvSpPr/>
            <p:nvPr/>
          </p:nvSpPr>
          <p:spPr bwMode="auto">
            <a:xfrm>
              <a:off x="8528681" y="4790596"/>
              <a:ext cx="3424510" cy="1173984"/>
            </a:xfrm>
            <a:prstGeom prst="rect">
              <a:avLst/>
            </a:prstGeom>
            <a:solidFill>
              <a:schemeClr val="accent1">
                <a:lumMod val="75000"/>
              </a:schemeClr>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Mobile access </a:t>
              </a:r>
              <a:r>
                <a:rPr lang="en-US" dirty="0" smtClean="0">
                  <a:solidFill>
                    <a:srgbClr val="FFFFFF"/>
                  </a:solidFill>
                </a:rPr>
                <a:t>through </a:t>
              </a:r>
              <a:r>
                <a:rPr lang="en-US" dirty="0">
                  <a:solidFill>
                    <a:srgbClr val="FFFFFF"/>
                  </a:solidFill>
                </a:rPr>
                <a:t>HTML5 </a:t>
              </a:r>
              <a:r>
                <a:rPr lang="en-US" dirty="0" smtClean="0">
                  <a:solidFill>
                    <a:srgbClr val="FFFFFF"/>
                  </a:solidFill>
                </a:rPr>
                <a:t>and </a:t>
              </a:r>
              <a:r>
                <a:rPr lang="en-US" dirty="0">
                  <a:solidFill>
                    <a:srgbClr val="FFFFFF"/>
                  </a:solidFill>
                </a:rPr>
                <a:t>touch optimized </a:t>
              </a:r>
              <a:r>
                <a:rPr lang="en-US" dirty="0" smtClean="0">
                  <a:solidFill>
                    <a:srgbClr val="FFFFFF"/>
                  </a:solidFill>
                </a:rPr>
                <a:t>apps</a:t>
              </a:r>
              <a:endParaRPr lang="en-US" kern="0" dirty="0">
                <a:solidFill>
                  <a:srgbClr val="FFFFFF"/>
                </a:solidFill>
                <a:ea typeface="Segoe UI" pitchFamily="34" charset="0"/>
                <a:cs typeface="Segoe UI" pitchFamily="34" charset="0"/>
              </a:endParaRPr>
            </a:p>
          </p:txBody>
        </p:sp>
      </p:grpSp>
      <p:sp>
        <p:nvSpPr>
          <p:cNvPr id="56" name="Rectangle 55"/>
          <p:cNvSpPr/>
          <p:nvPr/>
        </p:nvSpPr>
        <p:spPr bwMode="auto">
          <a:xfrm>
            <a:off x="486715" y="6179628"/>
            <a:ext cx="11466476" cy="501498"/>
          </a:xfrm>
          <a:prstGeom prst="rect">
            <a:avLst/>
          </a:prstGeom>
          <a:solidFill>
            <a:schemeClr val="accent1">
              <a:lumMod val="75000"/>
            </a:schemeClr>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gradFill>
                  <a:gsLst>
                    <a:gs pos="0">
                      <a:srgbClr val="FFFFFF"/>
                    </a:gs>
                    <a:gs pos="100000">
                      <a:srgbClr val="FFFFFF"/>
                    </a:gs>
                  </a:gsLst>
                  <a:lin ang="5400000" scaled="0"/>
                </a:gradFill>
                <a:ea typeface="Segoe UI" pitchFamily="34" charset="0"/>
                <a:cs typeface="Segoe UI" pitchFamily="34" charset="0"/>
              </a:rPr>
              <a:t>Scalable  |  Manageable  |  Trusted  </a:t>
            </a: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7" name="Cross 56"/>
          <p:cNvSpPr/>
          <p:nvPr/>
        </p:nvSpPr>
        <p:spPr bwMode="auto">
          <a:xfrm>
            <a:off x="5798635" y="3519537"/>
            <a:ext cx="798760" cy="798152"/>
          </a:xfrm>
          <a:prstGeom prst="plus">
            <a:avLst>
              <a:gd name="adj" fmla="val 40783"/>
            </a:avLst>
          </a:prstGeom>
          <a:solidFill>
            <a:schemeClr val="tx1"/>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6009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0-#ppt_w/2"/>
                                          </p:val>
                                        </p:tav>
                                        <p:tav tm="100000">
                                          <p:val>
                                            <p:strVal val="#ppt_x"/>
                                          </p:val>
                                        </p:tav>
                                      </p:tavLst>
                                    </p:anim>
                                    <p:anim calcmode="lin" valueType="num">
                                      <p:cBhvr additive="base">
                                        <p:cTn id="11" dur="1000" fill="hold"/>
                                        <p:tgtEl>
                                          <p:spTgt spid="4"/>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1000" fill="hold"/>
                                        <p:tgtEl>
                                          <p:spTgt spid="5"/>
                                        </p:tgtEl>
                                        <p:attrNameLst>
                                          <p:attrName>ppt_x</p:attrName>
                                        </p:attrNameLst>
                                      </p:cBhvr>
                                      <p:tavLst>
                                        <p:tav tm="0">
                                          <p:val>
                                            <p:strVal val="1+#ppt_w/2"/>
                                          </p:val>
                                        </p:tav>
                                        <p:tav tm="100000">
                                          <p:val>
                                            <p:strVal val="#ppt_x"/>
                                          </p:val>
                                        </p:tav>
                                      </p:tavLst>
                                    </p:anim>
                                    <p:anim calcmode="lin" valueType="num">
                                      <p:cBhvr additive="base">
                                        <p:cTn id="15" dur="1000" fill="hold"/>
                                        <p:tgtEl>
                                          <p:spTgt spid="5"/>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1008" y="1741672"/>
            <a:ext cx="6477000" cy="41148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497" y="1741672"/>
            <a:ext cx="5449962" cy="4114800"/>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0827" y="444062"/>
            <a:ext cx="3205860" cy="771781"/>
          </a:xfrm>
          <a:prstGeom prst="rect">
            <a:avLst/>
          </a:prstGeom>
        </p:spPr>
      </p:pic>
    </p:spTree>
    <p:extLst>
      <p:ext uri="{BB962C8B-B14F-4D97-AF65-F5344CB8AC3E}">
        <p14:creationId xmlns:p14="http://schemas.microsoft.com/office/powerpoint/2010/main" val="364754483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can I improve my sales?</a:t>
            </a:r>
            <a:endParaRPr lang="en-US" dirty="0"/>
          </a:p>
        </p:txBody>
      </p:sp>
      <p:sp>
        <p:nvSpPr>
          <p:cNvPr id="3" name="Text Placeholder 2"/>
          <p:cNvSpPr>
            <a:spLocks noGrp="1"/>
          </p:cNvSpPr>
          <p:nvPr>
            <p:ph type="body" sz="quarter" idx="12"/>
          </p:nvPr>
        </p:nvSpPr>
        <p:spPr/>
        <p:txBody>
          <a:bodyPr/>
          <a:lstStyle/>
          <a:p>
            <a:endParaRPr lang="en-AU"/>
          </a:p>
        </p:txBody>
      </p:sp>
    </p:spTree>
    <p:extLst>
      <p:ext uri="{BB962C8B-B14F-4D97-AF65-F5344CB8AC3E}">
        <p14:creationId xmlns:p14="http://schemas.microsoft.com/office/powerpoint/2010/main" val="26609918"/>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can I better enable my sales staff?</a:t>
            </a:r>
            <a:endParaRPr lang="en-US" dirty="0"/>
          </a:p>
        </p:txBody>
      </p:sp>
      <p:sp>
        <p:nvSpPr>
          <p:cNvPr id="3" name="Text Placeholder 2"/>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20224488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can I better target my customers?</a:t>
            </a:r>
            <a:endParaRPr lang="en-US" dirty="0"/>
          </a:p>
        </p:txBody>
      </p:sp>
      <p:sp>
        <p:nvSpPr>
          <p:cNvPr id="3" name="Text Placeholder 2"/>
          <p:cNvSpPr>
            <a:spLocks noGrp="1"/>
          </p:cNvSpPr>
          <p:nvPr>
            <p:ph type="body" sz="quarter" idx="12"/>
          </p:nvPr>
        </p:nvSpPr>
        <p:spPr/>
        <p:txBody>
          <a:bodyPr/>
          <a:lstStyle/>
          <a:p>
            <a:r>
              <a:rPr lang="en-US" dirty="0" smtClean="0"/>
              <a:t>Speaker Name</a:t>
            </a:r>
            <a:endParaRPr lang="en-US" dirty="0"/>
          </a:p>
        </p:txBody>
      </p:sp>
    </p:spTree>
    <p:extLst>
      <p:ext uri="{BB962C8B-B14F-4D97-AF65-F5344CB8AC3E}">
        <p14:creationId xmlns:p14="http://schemas.microsoft.com/office/powerpoint/2010/main" val="685981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1_104419_TechEd Aus 2014 Speaker PPT Template">
  <a:themeElements>
    <a:clrScheme name="Custom 16">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9E4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 id="{B7FE9518-974F-47DC-B2FB-8DA685825519}" vid="{71F0AC58-1E80-4F52-B431-4D2A931C77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DD899C120E4484B8CAD9B97FA6D2027" ma:contentTypeVersion="" ma:contentTypeDescription="Create a new document." ma:contentTypeScope="" ma:versionID="8b2b1118d7563a9ed8be750e0e319b59">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1D5C2EF-3D46-4E8E-AA71-D1C645D18F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08</TotalTime>
  <Words>1451</Words>
  <Application>Microsoft Office PowerPoint</Application>
  <PresentationFormat>Custom</PresentationFormat>
  <Paragraphs>150</Paragraphs>
  <Slides>14</Slides>
  <Notes>11</Notes>
  <HiddenSlides>3</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4</vt:i4>
      </vt:variant>
    </vt:vector>
  </HeadingPairs>
  <TitlesOfParts>
    <vt:vector size="24" baseType="lpstr">
      <vt:lpstr>MS PGothic</vt:lpstr>
      <vt:lpstr>Arial</vt:lpstr>
      <vt:lpstr>Arial Black</vt:lpstr>
      <vt:lpstr>Calibri</vt:lpstr>
      <vt:lpstr>Consolas</vt:lpstr>
      <vt:lpstr>Segoe Light</vt:lpstr>
      <vt:lpstr>Segoe UI</vt:lpstr>
      <vt:lpstr>Segoe UI Light</vt:lpstr>
      <vt:lpstr>Wingdings</vt:lpstr>
      <vt:lpstr>1_104419_TechEd Aus 2014 Speaker PPT Template</vt:lpstr>
      <vt:lpstr>PowerPoint Presentation</vt:lpstr>
      <vt:lpstr>Microsoft’s approach delivers data dividends</vt:lpstr>
      <vt:lpstr>Microsoft Data Platform</vt:lpstr>
      <vt:lpstr>Visualize &amp; decide</vt:lpstr>
      <vt:lpstr>Visualize &amp; decide </vt:lpstr>
      <vt:lpstr>PowerPoint Presentation</vt:lpstr>
      <vt:lpstr>How can I improve my sales?</vt:lpstr>
      <vt:lpstr>How can I better enable my sales staff?</vt:lpstr>
      <vt:lpstr>How can I better target my customers?</vt:lpstr>
      <vt:lpstr>How does IT have insight?</vt:lpstr>
      <vt:lpstr> Component Diagram for Power BI Hybrid Architecture</vt:lpstr>
      <vt:lpstr>Next …</vt:lpstr>
      <vt:lpstr>Power BI Readiness</vt:lpstr>
      <vt:lpstr>Thank You</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chEd 2013</dc:subject>
  <dc:creator>Wenwen Ni</dc:creator>
  <cp:keywords>TechEd 2013</cp:keywords>
  <dc:description>Template by: Jordan Cayabyab, Artitudes Design, Inc.
Formatting by: 
Audience Type: Internal/External</dc:description>
  <cp:lastModifiedBy>Windows User</cp:lastModifiedBy>
  <cp:revision>81</cp:revision>
  <dcterms:created xsi:type="dcterms:W3CDTF">2013-04-23T17:53:56Z</dcterms:created>
  <dcterms:modified xsi:type="dcterms:W3CDTF">2023-03-25T16:3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D899C120E4484B8CAD9B97FA6D202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